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rels" ContentType="application/vnd.openxmlformats-package.relationships+xml"/>
  <Default Extension="tmp" ContentType="image/p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7"/>
  </p:notesMasterIdLst>
  <p:sldIdLst>
    <p:sldId id="702" r:id="rId2"/>
    <p:sldId id="705" r:id="rId3"/>
    <p:sldId id="700" r:id="rId4"/>
    <p:sldId id="703" r:id="rId5"/>
    <p:sldId id="704" r:id="rId6"/>
  </p:sldIdLst>
  <p:sldSz cx="12192000" cy="6858000"/>
  <p:notesSz cx="6858000" cy="9144000"/>
  <p:custDataLst>
    <p:tags r:id="rId8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B050"/>
    <a:srgbClr val="0070C0"/>
    <a:srgbClr val="FFC000"/>
    <a:srgbClr val="000000"/>
    <a:srgbClr val="FF0000"/>
    <a:srgbClr val="00FF00"/>
    <a:srgbClr val="0099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Bez stylu, bez mřížky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6270" autoAdjust="0"/>
    <p:restoredTop sz="94660"/>
  </p:normalViewPr>
  <p:slideViewPr>
    <p:cSldViewPr snapToGrid="0">
      <p:cViewPr varScale="1">
        <p:scale>
          <a:sx n="114" d="100"/>
          <a:sy n="114" d="100"/>
        </p:scale>
        <p:origin x="972" y="1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4099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982438378712428"/>
          <c:y val="4.627551316267748E-2"/>
          <c:w val="0.8387312626781529"/>
          <c:h val="0.7213269535805733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upv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A$2:$A$250</c:f>
              <c:numCache>
                <c:formatCode>m/d/yyyy</c:formatCode>
                <c:ptCount val="249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</c:numCache>
            </c:numRef>
          </c:cat>
          <c:val>
            <c:numRef>
              <c:f>Sheet1!$D$2:$D$250</c:f>
              <c:numCache>
                <c:formatCode>#,##0</c:formatCode>
                <c:ptCount val="249"/>
                <c:pt idx="0">
                  <c:v>27</c:v>
                </c:pt>
                <c:pt idx="1">
                  <c:v>29</c:v>
                </c:pt>
                <c:pt idx="2">
                  <c:v>32</c:v>
                </c:pt>
                <c:pt idx="3">
                  <c:v>34</c:v>
                </c:pt>
                <c:pt idx="4">
                  <c:v>34</c:v>
                </c:pt>
                <c:pt idx="5">
                  <c:v>36</c:v>
                </c:pt>
                <c:pt idx="6">
                  <c:v>40</c:v>
                </c:pt>
                <c:pt idx="7">
                  <c:v>37</c:v>
                </c:pt>
                <c:pt idx="8">
                  <c:v>40</c:v>
                </c:pt>
                <c:pt idx="9">
                  <c:v>42</c:v>
                </c:pt>
                <c:pt idx="10">
                  <c:v>44</c:v>
                </c:pt>
                <c:pt idx="11">
                  <c:v>42</c:v>
                </c:pt>
                <c:pt idx="12">
                  <c:v>45</c:v>
                </c:pt>
                <c:pt idx="13">
                  <c:v>42</c:v>
                </c:pt>
                <c:pt idx="14">
                  <c:v>42</c:v>
                </c:pt>
                <c:pt idx="15">
                  <c:v>43</c:v>
                </c:pt>
                <c:pt idx="16">
                  <c:v>50</c:v>
                </c:pt>
                <c:pt idx="17">
                  <c:v>58</c:v>
                </c:pt>
                <c:pt idx="18">
                  <c:v>57</c:v>
                </c:pt>
                <c:pt idx="19">
                  <c:v>59</c:v>
                </c:pt>
                <c:pt idx="20">
                  <c:v>71</c:v>
                </c:pt>
                <c:pt idx="21">
                  <c:v>75</c:v>
                </c:pt>
                <c:pt idx="22">
                  <c:v>80</c:v>
                </c:pt>
                <c:pt idx="23">
                  <c:v>93</c:v>
                </c:pt>
                <c:pt idx="24">
                  <c:v>96</c:v>
                </c:pt>
                <c:pt idx="25">
                  <c:v>98</c:v>
                </c:pt>
                <c:pt idx="26">
                  <c:v>107</c:v>
                </c:pt>
                <c:pt idx="27">
                  <c:v>101</c:v>
                </c:pt>
                <c:pt idx="28">
                  <c:v>109</c:v>
                </c:pt>
                <c:pt idx="29">
                  <c:v>110</c:v>
                </c:pt>
                <c:pt idx="30">
                  <c:v>125</c:v>
                </c:pt>
                <c:pt idx="31">
                  <c:v>126</c:v>
                </c:pt>
                <c:pt idx="32">
                  <c:v>126</c:v>
                </c:pt>
                <c:pt idx="33">
                  <c:v>129</c:v>
                </c:pt>
                <c:pt idx="34">
                  <c:v>145</c:v>
                </c:pt>
                <c:pt idx="35">
                  <c:v>155</c:v>
                </c:pt>
                <c:pt idx="36">
                  <c:v>172</c:v>
                </c:pt>
                <c:pt idx="37">
                  <c:v>174</c:v>
                </c:pt>
                <c:pt idx="38">
                  <c:v>191</c:v>
                </c:pt>
                <c:pt idx="39">
                  <c:v>205</c:v>
                </c:pt>
                <c:pt idx="40">
                  <c:v>192</c:v>
                </c:pt>
                <c:pt idx="41">
                  <c:v>217</c:v>
                </c:pt>
                <c:pt idx="42">
                  <c:v>234</c:v>
                </c:pt>
                <c:pt idx="43">
                  <c:v>245</c:v>
                </c:pt>
                <c:pt idx="44">
                  <c:v>269</c:v>
                </c:pt>
                <c:pt idx="45">
                  <c:v>289</c:v>
                </c:pt>
                <c:pt idx="46">
                  <c:v>301</c:v>
                </c:pt>
                <c:pt idx="47">
                  <c:v>311</c:v>
                </c:pt>
                <c:pt idx="48">
                  <c:v>328</c:v>
                </c:pt>
                <c:pt idx="49">
                  <c:v>343</c:v>
                </c:pt>
                <c:pt idx="50">
                  <c:v>361</c:v>
                </c:pt>
                <c:pt idx="51">
                  <c:v>381</c:v>
                </c:pt>
                <c:pt idx="52">
                  <c:v>377</c:v>
                </c:pt>
                <c:pt idx="53">
                  <c:v>375</c:v>
                </c:pt>
                <c:pt idx="54">
                  <c:v>385</c:v>
                </c:pt>
                <c:pt idx="55">
                  <c:v>431</c:v>
                </c:pt>
                <c:pt idx="56">
                  <c:v>455</c:v>
                </c:pt>
                <c:pt idx="57">
                  <c:v>467</c:v>
                </c:pt>
                <c:pt idx="58">
                  <c:v>521</c:v>
                </c:pt>
                <c:pt idx="59">
                  <c:v>533</c:v>
                </c:pt>
                <c:pt idx="60">
                  <c:v>559</c:v>
                </c:pt>
                <c:pt idx="61">
                  <c:v>574</c:v>
                </c:pt>
                <c:pt idx="62">
                  <c:v>602</c:v>
                </c:pt>
                <c:pt idx="63">
                  <c:v>624</c:v>
                </c:pt>
                <c:pt idx="64">
                  <c:v>603</c:v>
                </c:pt>
                <c:pt idx="65">
                  <c:v>594</c:v>
                </c:pt>
                <c:pt idx="66">
                  <c:v>602</c:v>
                </c:pt>
                <c:pt idx="67">
                  <c:v>583</c:v>
                </c:pt>
                <c:pt idx="68">
                  <c:v>583</c:v>
                </c:pt>
                <c:pt idx="69">
                  <c:v>609</c:v>
                </c:pt>
                <c:pt idx="70">
                  <c:v>604</c:v>
                </c:pt>
                <c:pt idx="71">
                  <c:v>581</c:v>
                </c:pt>
                <c:pt idx="72">
                  <c:v>557</c:v>
                </c:pt>
                <c:pt idx="73">
                  <c:v>545</c:v>
                </c:pt>
                <c:pt idx="74">
                  <c:v>526</c:v>
                </c:pt>
                <c:pt idx="75">
                  <c:v>516</c:v>
                </c:pt>
                <c:pt idx="76">
                  <c:v>502</c:v>
                </c:pt>
                <c:pt idx="77">
                  <c:v>470</c:v>
                </c:pt>
                <c:pt idx="78">
                  <c:v>471</c:v>
                </c:pt>
                <c:pt idx="79">
                  <c:v>465</c:v>
                </c:pt>
                <c:pt idx="80">
                  <c:v>445</c:v>
                </c:pt>
                <c:pt idx="81">
                  <c:v>450</c:v>
                </c:pt>
                <c:pt idx="82">
                  <c:v>447</c:v>
                </c:pt>
                <c:pt idx="83">
                  <c:v>437</c:v>
                </c:pt>
                <c:pt idx="84">
                  <c:v>405</c:v>
                </c:pt>
                <c:pt idx="85">
                  <c:v>389</c:v>
                </c:pt>
                <c:pt idx="86">
                  <c:v>394</c:v>
                </c:pt>
                <c:pt idx="87">
                  <c:v>367</c:v>
                </c:pt>
                <c:pt idx="88">
                  <c:v>356</c:v>
                </c:pt>
                <c:pt idx="89">
                  <c:v>339</c:v>
                </c:pt>
                <c:pt idx="90">
                  <c:v>347</c:v>
                </c:pt>
                <c:pt idx="91">
                  <c:v>319</c:v>
                </c:pt>
                <c:pt idx="92">
                  <c:v>305</c:v>
                </c:pt>
                <c:pt idx="93">
                  <c:v>293</c:v>
                </c:pt>
                <c:pt idx="94">
                  <c:v>291</c:v>
                </c:pt>
                <c:pt idx="95">
                  <c:v>297</c:v>
                </c:pt>
                <c:pt idx="96">
                  <c:v>292</c:v>
                </c:pt>
                <c:pt idx="97">
                  <c:v>291</c:v>
                </c:pt>
                <c:pt idx="98">
                  <c:v>287</c:v>
                </c:pt>
                <c:pt idx="99">
                  <c:v>279</c:v>
                </c:pt>
                <c:pt idx="100">
                  <c:v>298</c:v>
                </c:pt>
                <c:pt idx="101">
                  <c:v>308</c:v>
                </c:pt>
                <c:pt idx="102">
                  <c:v>304</c:v>
                </c:pt>
                <c:pt idx="103">
                  <c:v>302</c:v>
                </c:pt>
                <c:pt idx="104">
                  <c:v>312</c:v>
                </c:pt>
                <c:pt idx="105">
                  <c:v>308</c:v>
                </c:pt>
                <c:pt idx="106">
                  <c:v>312</c:v>
                </c:pt>
                <c:pt idx="107">
                  <c:v>302</c:v>
                </c:pt>
                <c:pt idx="108">
                  <c:v>312</c:v>
                </c:pt>
                <c:pt idx="109">
                  <c:v>307</c:v>
                </c:pt>
                <c:pt idx="110">
                  <c:v>301</c:v>
                </c:pt>
                <c:pt idx="111">
                  <c:v>306</c:v>
                </c:pt>
                <c:pt idx="112">
                  <c:v>319</c:v>
                </c:pt>
                <c:pt idx="113">
                  <c:v>332</c:v>
                </c:pt>
                <c:pt idx="114">
                  <c:v>320</c:v>
                </c:pt>
                <c:pt idx="115">
                  <c:v>331</c:v>
                </c:pt>
                <c:pt idx="116">
                  <c:v>350</c:v>
                </c:pt>
                <c:pt idx="117">
                  <c:v>369</c:v>
                </c:pt>
                <c:pt idx="118">
                  <c:v>391</c:v>
                </c:pt>
                <c:pt idx="119">
                  <c:v>411</c:v>
                </c:pt>
                <c:pt idx="120">
                  <c:v>426</c:v>
                </c:pt>
                <c:pt idx="121">
                  <c:v>435</c:v>
                </c:pt>
                <c:pt idx="122">
                  <c:v>434</c:v>
                </c:pt>
                <c:pt idx="123">
                  <c:v>455</c:v>
                </c:pt>
                <c:pt idx="124">
                  <c:v>474</c:v>
                </c:pt>
                <c:pt idx="125">
                  <c:v>511</c:v>
                </c:pt>
                <c:pt idx="126">
                  <c:v>534</c:v>
                </c:pt>
                <c:pt idx="127">
                  <c:v>553</c:v>
                </c:pt>
                <c:pt idx="128">
                  <c:v>564</c:v>
                </c:pt>
                <c:pt idx="129">
                  <c:v>535</c:v>
                </c:pt>
                <c:pt idx="130">
                  <c:v>530</c:v>
                </c:pt>
                <c:pt idx="131">
                  <c:v>549</c:v>
                </c:pt>
                <c:pt idx="132">
                  <c:v>566</c:v>
                </c:pt>
                <c:pt idx="133">
                  <c:v>563</c:v>
                </c:pt>
                <c:pt idx="134">
                  <c:v>568</c:v>
                </c:pt>
                <c:pt idx="135">
                  <c:v>584</c:v>
                </c:pt>
                <c:pt idx="136">
                  <c:v>595</c:v>
                </c:pt>
                <c:pt idx="137">
                  <c:v>583</c:v>
                </c:pt>
                <c:pt idx="138">
                  <c:v>589</c:v>
                </c:pt>
                <c:pt idx="139">
                  <c:v>587</c:v>
                </c:pt>
                <c:pt idx="140">
                  <c:v>577</c:v>
                </c:pt>
                <c:pt idx="141">
                  <c:v>559</c:v>
                </c:pt>
                <c:pt idx="142">
                  <c:v>553</c:v>
                </c:pt>
                <c:pt idx="143">
                  <c:v>538</c:v>
                </c:pt>
                <c:pt idx="144">
                  <c:v>535</c:v>
                </c:pt>
                <c:pt idx="145">
                  <c:v>538</c:v>
                </c:pt>
                <c:pt idx="146">
                  <c:v>538</c:v>
                </c:pt>
                <c:pt idx="147">
                  <c:v>547</c:v>
                </c:pt>
                <c:pt idx="148">
                  <c:v>547</c:v>
                </c:pt>
                <c:pt idx="149">
                  <c:v>543</c:v>
                </c:pt>
                <c:pt idx="150">
                  <c:v>514</c:v>
                </c:pt>
                <c:pt idx="151">
                  <c:v>521</c:v>
                </c:pt>
                <c:pt idx="152">
                  <c:v>528</c:v>
                </c:pt>
                <c:pt idx="153">
                  <c:v>546</c:v>
                </c:pt>
                <c:pt idx="154">
                  <c:v>530</c:v>
                </c:pt>
                <c:pt idx="155">
                  <c:v>530</c:v>
                </c:pt>
                <c:pt idx="156">
                  <c:v>547</c:v>
                </c:pt>
                <c:pt idx="157">
                  <c:v>540</c:v>
                </c:pt>
                <c:pt idx="158">
                  <c:v>528</c:v>
                </c:pt>
                <c:pt idx="159">
                  <c:v>546</c:v>
                </c:pt>
                <c:pt idx="160">
                  <c:v>539</c:v>
                </c:pt>
                <c:pt idx="161">
                  <c:v>526</c:v>
                </c:pt>
                <c:pt idx="162">
                  <c:v>522</c:v>
                </c:pt>
                <c:pt idx="163">
                  <c:v>544</c:v>
                </c:pt>
                <c:pt idx="164">
                  <c:v>554</c:v>
                </c:pt>
                <c:pt idx="165">
                  <c:v>559</c:v>
                </c:pt>
                <c:pt idx="166">
                  <c:v>578</c:v>
                </c:pt>
                <c:pt idx="167">
                  <c:v>568</c:v>
                </c:pt>
                <c:pt idx="168">
                  <c:v>592</c:v>
                </c:pt>
                <c:pt idx="169">
                  <c:v>606</c:v>
                </c:pt>
                <c:pt idx="170">
                  <c:v>616</c:v>
                </c:pt>
                <c:pt idx="171">
                  <c:v>635</c:v>
                </c:pt>
                <c:pt idx="172">
                  <c:v>655</c:v>
                </c:pt>
                <c:pt idx="173">
                  <c:v>663</c:v>
                </c:pt>
                <c:pt idx="174">
                  <c:v>680</c:v>
                </c:pt>
                <c:pt idx="175">
                  <c:v>694</c:v>
                </c:pt>
                <c:pt idx="176">
                  <c:v>681</c:v>
                </c:pt>
                <c:pt idx="177">
                  <c:v>729</c:v>
                </c:pt>
                <c:pt idx="178">
                  <c:v>722</c:v>
                </c:pt>
                <c:pt idx="179">
                  <c:v>715</c:v>
                </c:pt>
                <c:pt idx="180">
                  <c:v>741</c:v>
                </c:pt>
                <c:pt idx="181">
                  <c:v>782</c:v>
                </c:pt>
                <c:pt idx="182">
                  <c:v>800</c:v>
                </c:pt>
                <c:pt idx="183">
                  <c:v>806</c:v>
                </c:pt>
                <c:pt idx="184">
                  <c:v>827</c:v>
                </c:pt>
                <c:pt idx="185">
                  <c:v>842</c:v>
                </c:pt>
                <c:pt idx="186">
                  <c:v>852</c:v>
                </c:pt>
                <c:pt idx="187">
                  <c:v>871</c:v>
                </c:pt>
                <c:pt idx="188">
                  <c:v>920</c:v>
                </c:pt>
                <c:pt idx="189">
                  <c:v>909</c:v>
                </c:pt>
                <c:pt idx="190">
                  <c:v>916</c:v>
                </c:pt>
                <c:pt idx="191">
                  <c:v>918</c:v>
                </c:pt>
                <c:pt idx="192">
                  <c:v>928</c:v>
                </c:pt>
                <c:pt idx="193">
                  <c:v>912</c:v>
                </c:pt>
                <c:pt idx="194">
                  <c:v>938</c:v>
                </c:pt>
                <c:pt idx="195">
                  <c:v>943</c:v>
                </c:pt>
                <c:pt idx="196">
                  <c:v>928</c:v>
                </c:pt>
                <c:pt idx="197">
                  <c:v>926</c:v>
                </c:pt>
                <c:pt idx="198">
                  <c:v>952</c:v>
                </c:pt>
                <c:pt idx="199">
                  <c:v>943</c:v>
                </c:pt>
                <c:pt idx="200">
                  <c:v>937</c:v>
                </c:pt>
                <c:pt idx="201">
                  <c:v>932</c:v>
                </c:pt>
                <c:pt idx="202">
                  <c:v>971</c:v>
                </c:pt>
                <c:pt idx="203">
                  <c:v>930</c:v>
                </c:pt>
                <c:pt idx="204">
                  <c:v>922</c:v>
                </c:pt>
                <c:pt idx="207">
                  <c:v>877</c:v>
                </c:pt>
                <c:pt idx="208">
                  <c:v>861</c:v>
                </c:pt>
                <c:pt idx="209">
                  <c:v>865</c:v>
                </c:pt>
                <c:pt idx="210">
                  <c:v>839</c:v>
                </c:pt>
                <c:pt idx="211">
                  <c:v>811</c:v>
                </c:pt>
                <c:pt idx="212">
                  <c:v>788</c:v>
                </c:pt>
                <c:pt idx="213">
                  <c:v>761</c:v>
                </c:pt>
                <c:pt idx="214">
                  <c:v>724</c:v>
                </c:pt>
                <c:pt idx="215">
                  <c:v>713</c:v>
                </c:pt>
                <c:pt idx="216">
                  <c:v>709</c:v>
                </c:pt>
                <c:pt idx="217">
                  <c:v>730</c:v>
                </c:pt>
                <c:pt idx="218">
                  <c:v>705</c:v>
                </c:pt>
                <c:pt idx="219">
                  <c:v>671</c:v>
                </c:pt>
                <c:pt idx="220">
                  <c:v>628</c:v>
                </c:pt>
                <c:pt idx="221">
                  <c:v>605</c:v>
                </c:pt>
                <c:pt idx="222">
                  <c:v>606</c:v>
                </c:pt>
                <c:pt idx="223">
                  <c:v>597</c:v>
                </c:pt>
                <c:pt idx="224">
                  <c:v>574</c:v>
                </c:pt>
                <c:pt idx="225">
                  <c:v>541</c:v>
                </c:pt>
                <c:pt idx="226">
                  <c:v>524</c:v>
                </c:pt>
                <c:pt idx="227">
                  <c:v>518</c:v>
                </c:pt>
                <c:pt idx="228">
                  <c:v>491</c:v>
                </c:pt>
                <c:pt idx="229">
                  <c:v>496</c:v>
                </c:pt>
                <c:pt idx="230">
                  <c:v>493</c:v>
                </c:pt>
                <c:pt idx="231">
                  <c:v>477</c:v>
                </c:pt>
                <c:pt idx="232">
                  <c:v>466</c:v>
                </c:pt>
                <c:pt idx="233">
                  <c:v>419</c:v>
                </c:pt>
                <c:pt idx="234">
                  <c:v>402</c:v>
                </c:pt>
                <c:pt idx="235">
                  <c:v>378</c:v>
                </c:pt>
                <c:pt idx="236">
                  <c:v>372</c:v>
                </c:pt>
                <c:pt idx="237">
                  <c:v>362</c:v>
                </c:pt>
                <c:pt idx="238">
                  <c:v>360</c:v>
                </c:pt>
                <c:pt idx="239">
                  <c:v>335</c:v>
                </c:pt>
                <c:pt idx="240">
                  <c:v>305</c:v>
                </c:pt>
                <c:pt idx="241">
                  <c:v>279</c:v>
                </c:pt>
                <c:pt idx="242">
                  <c:v>265</c:v>
                </c:pt>
                <c:pt idx="243" formatCode="General">
                  <c:v>271</c:v>
                </c:pt>
                <c:pt idx="244" formatCode="General">
                  <c:v>268</c:v>
                </c:pt>
                <c:pt idx="245" formatCode="General">
                  <c:v>252</c:v>
                </c:pt>
                <c:pt idx="246" formatCode="General">
                  <c:v>228</c:v>
                </c:pt>
                <c:pt idx="247" formatCode="General">
                  <c:v>216</c:v>
                </c:pt>
                <c:pt idx="248" formatCode="General">
                  <c:v>2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58F-4D66-9C17-755B1D8C843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09857984"/>
        <c:axId val="309858376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UPVVolna</c:v>
                </c:pt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none"/>
          </c:marker>
          <c:dLbls>
            <c:dLbl>
              <c:idx val="242"/>
              <c:tx>
                <c:rich>
                  <a:bodyPr/>
                  <a:lstStyle/>
                  <a:p>
                    <a:r>
                      <a:rPr lang="en-US" dirty="0"/>
                      <a:t>650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0-C11D-4C2F-96AD-66CF0CE2ACC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lang="cs-CZ" sz="1197" b="1" i="0" u="none" strike="noStrike" kern="1200" baseline="0">
                    <a:solidFill>
                      <a:srgbClr val="FFC000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250</c:f>
              <c:numCache>
                <c:formatCode>m/d/yyyy</c:formatCode>
                <c:ptCount val="249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</c:numCache>
            </c:numRef>
          </c:cat>
          <c:val>
            <c:numRef>
              <c:f>Sheet1!$B$2:$B$250</c:f>
              <c:numCache>
                <c:formatCode>#,##0</c:formatCode>
                <c:ptCount val="249"/>
                <c:pt idx="0">
                  <c:v>1187</c:v>
                </c:pt>
                <c:pt idx="1">
                  <c:v>1160</c:v>
                </c:pt>
                <c:pt idx="2">
                  <c:v>1148</c:v>
                </c:pt>
                <c:pt idx="3">
                  <c:v>1143</c:v>
                </c:pt>
                <c:pt idx="4">
                  <c:v>1136</c:v>
                </c:pt>
                <c:pt idx="5">
                  <c:v>1139</c:v>
                </c:pt>
                <c:pt idx="6">
                  <c:v>1118</c:v>
                </c:pt>
                <c:pt idx="7">
                  <c:v>1115</c:v>
                </c:pt>
                <c:pt idx="8">
                  <c:v>1108</c:v>
                </c:pt>
                <c:pt idx="9">
                  <c:v>1094</c:v>
                </c:pt>
                <c:pt idx="10">
                  <c:v>1090</c:v>
                </c:pt>
                <c:pt idx="11">
                  <c:v>1079</c:v>
                </c:pt>
                <c:pt idx="12">
                  <c:v>1084</c:v>
                </c:pt>
                <c:pt idx="13">
                  <c:v>1080</c:v>
                </c:pt>
                <c:pt idx="14">
                  <c:v>1066</c:v>
                </c:pt>
                <c:pt idx="15">
                  <c:v>1074</c:v>
                </c:pt>
                <c:pt idx="16">
                  <c:v>1058</c:v>
                </c:pt>
                <c:pt idx="17">
                  <c:v>1041</c:v>
                </c:pt>
                <c:pt idx="18">
                  <c:v>1048</c:v>
                </c:pt>
                <c:pt idx="19">
                  <c:v>1053</c:v>
                </c:pt>
                <c:pt idx="20">
                  <c:v>1022</c:v>
                </c:pt>
                <c:pt idx="21">
                  <c:v>1013</c:v>
                </c:pt>
                <c:pt idx="22">
                  <c:v>969</c:v>
                </c:pt>
                <c:pt idx="23">
                  <c:v>965</c:v>
                </c:pt>
                <c:pt idx="24">
                  <c:v>979</c:v>
                </c:pt>
                <c:pt idx="25">
                  <c:v>994</c:v>
                </c:pt>
                <c:pt idx="26">
                  <c:v>995</c:v>
                </c:pt>
                <c:pt idx="27">
                  <c:v>989</c:v>
                </c:pt>
                <c:pt idx="28">
                  <c:v>962</c:v>
                </c:pt>
                <c:pt idx="29">
                  <c:v>952</c:v>
                </c:pt>
                <c:pt idx="30">
                  <c:v>971</c:v>
                </c:pt>
                <c:pt idx="31">
                  <c:v>961</c:v>
                </c:pt>
                <c:pt idx="32">
                  <c:v>953</c:v>
                </c:pt>
                <c:pt idx="33">
                  <c:v>958</c:v>
                </c:pt>
                <c:pt idx="34">
                  <c:v>931</c:v>
                </c:pt>
                <c:pt idx="35">
                  <c:v>907</c:v>
                </c:pt>
                <c:pt idx="36">
                  <c:v>929</c:v>
                </c:pt>
                <c:pt idx="37">
                  <c:v>937</c:v>
                </c:pt>
                <c:pt idx="38">
                  <c:v>955</c:v>
                </c:pt>
                <c:pt idx="39">
                  <c:v>943</c:v>
                </c:pt>
                <c:pt idx="40">
                  <c:v>939</c:v>
                </c:pt>
                <c:pt idx="41">
                  <c:v>918</c:v>
                </c:pt>
                <c:pt idx="42">
                  <c:v>928</c:v>
                </c:pt>
                <c:pt idx="43">
                  <c:v>904</c:v>
                </c:pt>
                <c:pt idx="44">
                  <c:v>907</c:v>
                </c:pt>
                <c:pt idx="45">
                  <c:v>898</c:v>
                </c:pt>
                <c:pt idx="46">
                  <c:v>905</c:v>
                </c:pt>
                <c:pt idx="47">
                  <c:v>905</c:v>
                </c:pt>
                <c:pt idx="48">
                  <c:v>907</c:v>
                </c:pt>
                <c:pt idx="49">
                  <c:v>922</c:v>
                </c:pt>
                <c:pt idx="50">
                  <c:v>925</c:v>
                </c:pt>
                <c:pt idx="51">
                  <c:v>943</c:v>
                </c:pt>
                <c:pt idx="52">
                  <c:v>915</c:v>
                </c:pt>
                <c:pt idx="53">
                  <c:v>927</c:v>
                </c:pt>
                <c:pt idx="54">
                  <c:v>931</c:v>
                </c:pt>
                <c:pt idx="55">
                  <c:v>914</c:v>
                </c:pt>
                <c:pt idx="56">
                  <c:v>910</c:v>
                </c:pt>
                <c:pt idx="57">
                  <c:v>906</c:v>
                </c:pt>
                <c:pt idx="58">
                  <c:v>901</c:v>
                </c:pt>
                <c:pt idx="59">
                  <c:v>881</c:v>
                </c:pt>
                <c:pt idx="60">
                  <c:v>895</c:v>
                </c:pt>
                <c:pt idx="61">
                  <c:v>882</c:v>
                </c:pt>
                <c:pt idx="62">
                  <c:v>869</c:v>
                </c:pt>
                <c:pt idx="63">
                  <c:v>846</c:v>
                </c:pt>
                <c:pt idx="64">
                  <c:v>842</c:v>
                </c:pt>
                <c:pt idx="65">
                  <c:v>838</c:v>
                </c:pt>
                <c:pt idx="66">
                  <c:v>840</c:v>
                </c:pt>
                <c:pt idx="67">
                  <c:v>853</c:v>
                </c:pt>
                <c:pt idx="68">
                  <c:v>852</c:v>
                </c:pt>
                <c:pt idx="69">
                  <c:v>853</c:v>
                </c:pt>
                <c:pt idx="70">
                  <c:v>837</c:v>
                </c:pt>
                <c:pt idx="71">
                  <c:v>821</c:v>
                </c:pt>
                <c:pt idx="72">
                  <c:v>895</c:v>
                </c:pt>
                <c:pt idx="73">
                  <c:v>890</c:v>
                </c:pt>
                <c:pt idx="74">
                  <c:v>893</c:v>
                </c:pt>
                <c:pt idx="75">
                  <c:v>904</c:v>
                </c:pt>
                <c:pt idx="76">
                  <c:v>913</c:v>
                </c:pt>
                <c:pt idx="77">
                  <c:v>935</c:v>
                </c:pt>
                <c:pt idx="78">
                  <c:v>945</c:v>
                </c:pt>
                <c:pt idx="79">
                  <c:v>961</c:v>
                </c:pt>
                <c:pt idx="80">
                  <c:v>935</c:v>
                </c:pt>
                <c:pt idx="81">
                  <c:v>943</c:v>
                </c:pt>
                <c:pt idx="82">
                  <c:v>933</c:v>
                </c:pt>
                <c:pt idx="83">
                  <c:v>925</c:v>
                </c:pt>
                <c:pt idx="84">
                  <c:v>930</c:v>
                </c:pt>
                <c:pt idx="85">
                  <c:v>938</c:v>
                </c:pt>
                <c:pt idx="86">
                  <c:v>929</c:v>
                </c:pt>
                <c:pt idx="87">
                  <c:v>956</c:v>
                </c:pt>
                <c:pt idx="88">
                  <c:v>956</c:v>
                </c:pt>
                <c:pt idx="89">
                  <c:v>974</c:v>
                </c:pt>
                <c:pt idx="90">
                  <c:v>990</c:v>
                </c:pt>
                <c:pt idx="91">
                  <c:v>995</c:v>
                </c:pt>
                <c:pt idx="92">
                  <c:v>1009</c:v>
                </c:pt>
                <c:pt idx="93">
                  <c:v>999</c:v>
                </c:pt>
                <c:pt idx="94">
                  <c:v>1024</c:v>
                </c:pt>
                <c:pt idx="95">
                  <c:v>1014</c:v>
                </c:pt>
                <c:pt idx="96">
                  <c:v>1013</c:v>
                </c:pt>
                <c:pt idx="97">
                  <c:v>993</c:v>
                </c:pt>
                <c:pt idx="98">
                  <c:v>979</c:v>
                </c:pt>
                <c:pt idx="99">
                  <c:v>998</c:v>
                </c:pt>
                <c:pt idx="100">
                  <c:v>984</c:v>
                </c:pt>
                <c:pt idx="101">
                  <c:v>995</c:v>
                </c:pt>
                <c:pt idx="102">
                  <c:v>1020</c:v>
                </c:pt>
                <c:pt idx="103">
                  <c:v>999</c:v>
                </c:pt>
                <c:pt idx="104">
                  <c:v>994</c:v>
                </c:pt>
                <c:pt idx="105">
                  <c:v>985</c:v>
                </c:pt>
                <c:pt idx="106">
                  <c:v>988</c:v>
                </c:pt>
                <c:pt idx="107">
                  <c:v>1017</c:v>
                </c:pt>
                <c:pt idx="108">
                  <c:v>1005</c:v>
                </c:pt>
                <c:pt idx="109">
                  <c:v>1002</c:v>
                </c:pt>
                <c:pt idx="110">
                  <c:v>993</c:v>
                </c:pt>
                <c:pt idx="111">
                  <c:v>966</c:v>
                </c:pt>
                <c:pt idx="112">
                  <c:v>977</c:v>
                </c:pt>
                <c:pt idx="113">
                  <c:v>987</c:v>
                </c:pt>
                <c:pt idx="114">
                  <c:v>993</c:v>
                </c:pt>
                <c:pt idx="115">
                  <c:v>1008</c:v>
                </c:pt>
                <c:pt idx="116">
                  <c:v>1004</c:v>
                </c:pt>
                <c:pt idx="117">
                  <c:v>992</c:v>
                </c:pt>
                <c:pt idx="118">
                  <c:v>957</c:v>
                </c:pt>
                <c:pt idx="119">
                  <c:v>921</c:v>
                </c:pt>
                <c:pt idx="120">
                  <c:v>915</c:v>
                </c:pt>
                <c:pt idx="121">
                  <c:v>907</c:v>
                </c:pt>
                <c:pt idx="122">
                  <c:v>901</c:v>
                </c:pt>
                <c:pt idx="123">
                  <c:v>887</c:v>
                </c:pt>
                <c:pt idx="124">
                  <c:v>845</c:v>
                </c:pt>
                <c:pt idx="125">
                  <c:v>843</c:v>
                </c:pt>
                <c:pt idx="126">
                  <c:v>808</c:v>
                </c:pt>
                <c:pt idx="127">
                  <c:v>782</c:v>
                </c:pt>
                <c:pt idx="128">
                  <c:v>767</c:v>
                </c:pt>
                <c:pt idx="129">
                  <c:v>786</c:v>
                </c:pt>
                <c:pt idx="130">
                  <c:v>786</c:v>
                </c:pt>
                <c:pt idx="131">
                  <c:v>764</c:v>
                </c:pt>
                <c:pt idx="132">
                  <c:v>759</c:v>
                </c:pt>
                <c:pt idx="133">
                  <c:v>753</c:v>
                </c:pt>
                <c:pt idx="134">
                  <c:v>746</c:v>
                </c:pt>
                <c:pt idx="135">
                  <c:v>753</c:v>
                </c:pt>
                <c:pt idx="136">
                  <c:v>749</c:v>
                </c:pt>
                <c:pt idx="137">
                  <c:v>753</c:v>
                </c:pt>
                <c:pt idx="138">
                  <c:v>758</c:v>
                </c:pt>
                <c:pt idx="139">
                  <c:v>763</c:v>
                </c:pt>
                <c:pt idx="140">
                  <c:v>753</c:v>
                </c:pt>
                <c:pt idx="141">
                  <c:v>788</c:v>
                </c:pt>
                <c:pt idx="142">
                  <c:v>791</c:v>
                </c:pt>
                <c:pt idx="143">
                  <c:v>800</c:v>
                </c:pt>
                <c:pt idx="144">
                  <c:v>778</c:v>
                </c:pt>
                <c:pt idx="145">
                  <c:v>792</c:v>
                </c:pt>
                <c:pt idx="146">
                  <c:v>798</c:v>
                </c:pt>
                <c:pt idx="147">
                  <c:v>802</c:v>
                </c:pt>
                <c:pt idx="148">
                  <c:v>795</c:v>
                </c:pt>
                <c:pt idx="149">
                  <c:v>802</c:v>
                </c:pt>
                <c:pt idx="150">
                  <c:v>821</c:v>
                </c:pt>
                <c:pt idx="151">
                  <c:v>826</c:v>
                </c:pt>
                <c:pt idx="152">
                  <c:v>850</c:v>
                </c:pt>
                <c:pt idx="153">
                  <c:v>830</c:v>
                </c:pt>
                <c:pt idx="154">
                  <c:v>818</c:v>
                </c:pt>
                <c:pt idx="155">
                  <c:v>821</c:v>
                </c:pt>
                <c:pt idx="156">
                  <c:v>816</c:v>
                </c:pt>
                <c:pt idx="157">
                  <c:v>832</c:v>
                </c:pt>
                <c:pt idx="158">
                  <c:v>826</c:v>
                </c:pt>
                <c:pt idx="159">
                  <c:v>821</c:v>
                </c:pt>
                <c:pt idx="160">
                  <c:v>786</c:v>
                </c:pt>
                <c:pt idx="161">
                  <c:v>811</c:v>
                </c:pt>
                <c:pt idx="162">
                  <c:v>803</c:v>
                </c:pt>
                <c:pt idx="163">
                  <c:v>787</c:v>
                </c:pt>
                <c:pt idx="164">
                  <c:v>794</c:v>
                </c:pt>
                <c:pt idx="165">
                  <c:v>782</c:v>
                </c:pt>
                <c:pt idx="166">
                  <c:v>768</c:v>
                </c:pt>
                <c:pt idx="167">
                  <c:v>753</c:v>
                </c:pt>
                <c:pt idx="168">
                  <c:v>742</c:v>
                </c:pt>
                <c:pt idx="169">
                  <c:v>731</c:v>
                </c:pt>
                <c:pt idx="170">
                  <c:v>714</c:v>
                </c:pt>
                <c:pt idx="171">
                  <c:v>702</c:v>
                </c:pt>
                <c:pt idx="172">
                  <c:v>704</c:v>
                </c:pt>
                <c:pt idx="173">
                  <c:v>700</c:v>
                </c:pt>
                <c:pt idx="174">
                  <c:v>700</c:v>
                </c:pt>
                <c:pt idx="175">
                  <c:v>709</c:v>
                </c:pt>
                <c:pt idx="176">
                  <c:v>701</c:v>
                </c:pt>
                <c:pt idx="177">
                  <c:v>688</c:v>
                </c:pt>
                <c:pt idx="178">
                  <c:v>711</c:v>
                </c:pt>
                <c:pt idx="179">
                  <c:v>700</c:v>
                </c:pt>
                <c:pt idx="180">
                  <c:v>669</c:v>
                </c:pt>
                <c:pt idx="181">
                  <c:v>666</c:v>
                </c:pt>
                <c:pt idx="182">
                  <c:v>656</c:v>
                </c:pt>
                <c:pt idx="183">
                  <c:v>661</c:v>
                </c:pt>
                <c:pt idx="184">
                  <c:v>664</c:v>
                </c:pt>
                <c:pt idx="185">
                  <c:v>675</c:v>
                </c:pt>
                <c:pt idx="186">
                  <c:v>654</c:v>
                </c:pt>
                <c:pt idx="187">
                  <c:v>631</c:v>
                </c:pt>
                <c:pt idx="188">
                  <c:v>631</c:v>
                </c:pt>
                <c:pt idx="189">
                  <c:v>631</c:v>
                </c:pt>
                <c:pt idx="190">
                  <c:v>605</c:v>
                </c:pt>
                <c:pt idx="191">
                  <c:v>589</c:v>
                </c:pt>
                <c:pt idx="192">
                  <c:v>605</c:v>
                </c:pt>
                <c:pt idx="193">
                  <c:v>575</c:v>
                </c:pt>
                <c:pt idx="194">
                  <c:v>572</c:v>
                </c:pt>
                <c:pt idx="195">
                  <c:v>591</c:v>
                </c:pt>
                <c:pt idx="196">
                  <c:v>567</c:v>
                </c:pt>
                <c:pt idx="197">
                  <c:v>571</c:v>
                </c:pt>
                <c:pt idx="198">
                  <c:v>565</c:v>
                </c:pt>
                <c:pt idx="199">
                  <c:v>568</c:v>
                </c:pt>
                <c:pt idx="200">
                  <c:v>561</c:v>
                </c:pt>
                <c:pt idx="201">
                  <c:v>555</c:v>
                </c:pt>
                <c:pt idx="202">
                  <c:v>553</c:v>
                </c:pt>
                <c:pt idx="203">
                  <c:v>549</c:v>
                </c:pt>
                <c:pt idx="204">
                  <c:v>549</c:v>
                </c:pt>
                <c:pt idx="207">
                  <c:v>388</c:v>
                </c:pt>
                <c:pt idx="208">
                  <c:v>383</c:v>
                </c:pt>
                <c:pt idx="209">
                  <c:v>346</c:v>
                </c:pt>
                <c:pt idx="210">
                  <c:v>364</c:v>
                </c:pt>
                <c:pt idx="211">
                  <c:v>402</c:v>
                </c:pt>
                <c:pt idx="212">
                  <c:v>390</c:v>
                </c:pt>
                <c:pt idx="213">
                  <c:v>423</c:v>
                </c:pt>
                <c:pt idx="214">
                  <c:v>464</c:v>
                </c:pt>
                <c:pt idx="215">
                  <c:v>456</c:v>
                </c:pt>
                <c:pt idx="216">
                  <c:v>454</c:v>
                </c:pt>
                <c:pt idx="217">
                  <c:v>470</c:v>
                </c:pt>
                <c:pt idx="218">
                  <c:v>444</c:v>
                </c:pt>
                <c:pt idx="219">
                  <c:v>453</c:v>
                </c:pt>
                <c:pt idx="220">
                  <c:v>460</c:v>
                </c:pt>
                <c:pt idx="221">
                  <c:v>460</c:v>
                </c:pt>
                <c:pt idx="222">
                  <c:v>456</c:v>
                </c:pt>
                <c:pt idx="223">
                  <c:v>475</c:v>
                </c:pt>
                <c:pt idx="224">
                  <c:v>498</c:v>
                </c:pt>
                <c:pt idx="225">
                  <c:v>514</c:v>
                </c:pt>
                <c:pt idx="226">
                  <c:v>531</c:v>
                </c:pt>
                <c:pt idx="227">
                  <c:v>544</c:v>
                </c:pt>
                <c:pt idx="228">
                  <c:v>531</c:v>
                </c:pt>
                <c:pt idx="229">
                  <c:v>528</c:v>
                </c:pt>
                <c:pt idx="230">
                  <c:v>552</c:v>
                </c:pt>
                <c:pt idx="231">
                  <c:v>593</c:v>
                </c:pt>
                <c:pt idx="232">
                  <c:v>554</c:v>
                </c:pt>
                <c:pt idx="233">
                  <c:v>595</c:v>
                </c:pt>
                <c:pt idx="234">
                  <c:v>613</c:v>
                </c:pt>
                <c:pt idx="235">
                  <c:v>618</c:v>
                </c:pt>
                <c:pt idx="236">
                  <c:v>617</c:v>
                </c:pt>
                <c:pt idx="237">
                  <c:v>605</c:v>
                </c:pt>
                <c:pt idx="238">
                  <c:v>586</c:v>
                </c:pt>
                <c:pt idx="239">
                  <c:v>613</c:v>
                </c:pt>
                <c:pt idx="240">
                  <c:v>620</c:v>
                </c:pt>
                <c:pt idx="241">
                  <c:v>632</c:v>
                </c:pt>
                <c:pt idx="242">
                  <c:v>652</c:v>
                </c:pt>
                <c:pt idx="243" formatCode="General">
                  <c:v>657</c:v>
                </c:pt>
                <c:pt idx="244" formatCode="General">
                  <c:v>642</c:v>
                </c:pt>
                <c:pt idx="245" formatCode="General">
                  <c:v>617</c:v>
                </c:pt>
                <c:pt idx="246" formatCode="General">
                  <c:v>625</c:v>
                </c:pt>
                <c:pt idx="247" formatCode="General">
                  <c:v>645</c:v>
                </c:pt>
                <c:pt idx="248" formatCode="General">
                  <c:v>65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29-158F-4D66-9C17-755B1D8C8437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250</c:f>
              <c:numCache>
                <c:formatCode>m/d/yyyy</c:formatCode>
                <c:ptCount val="249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</c:numCache>
            </c:numRef>
          </c:cat>
          <c:val>
            <c:numRef>
              <c:f>Sheet1!$C$2:$C$250</c:f>
              <c:numCache>
                <c:formatCode>General</c:formatCode>
                <c:ptCount val="249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2A-158F-4D66-9C17-755B1D8C843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9857984"/>
        <c:axId val="309858376"/>
      </c:lineChart>
      <c:dateAx>
        <c:axId val="309857984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lang="cs-CZ"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8376"/>
        <c:crosses val="autoZero"/>
        <c:auto val="1"/>
        <c:lblOffset val="100"/>
        <c:baseTimeUnit val="days"/>
        <c:majorUnit val="1"/>
        <c:majorTimeUnit val="months"/>
      </c:dateAx>
      <c:valAx>
        <c:axId val="309858376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solidFill>
            <a:schemeClr val="bg1"/>
          </a:solidFill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cs-CZ"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798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lang="cs-CZ"/>
      </a:pPr>
      <a:endParaRPr lang="cs-CZ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904574384407295"/>
          <c:y val="4.627551316267748E-2"/>
          <c:w val="0.83193544996894264"/>
          <c:h val="0.71100168732329427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luzkaKyslik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A$2:$A$250</c:f>
              <c:numCache>
                <c:formatCode>m/d/yyyy</c:formatCode>
                <c:ptCount val="249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</c:numCache>
            </c:numRef>
          </c:cat>
          <c:val>
            <c:numRef>
              <c:f>Sheet1!$D$2:$D$250</c:f>
              <c:numCache>
                <c:formatCode>#,##0</c:formatCode>
                <c:ptCount val="249"/>
                <c:pt idx="0">
                  <c:v>60</c:v>
                </c:pt>
                <c:pt idx="1">
                  <c:v>53</c:v>
                </c:pt>
                <c:pt idx="2">
                  <c:v>55</c:v>
                </c:pt>
                <c:pt idx="3">
                  <c:v>56</c:v>
                </c:pt>
                <c:pt idx="4">
                  <c:v>67</c:v>
                </c:pt>
                <c:pt idx="5">
                  <c:v>74</c:v>
                </c:pt>
                <c:pt idx="6">
                  <c:v>85</c:v>
                </c:pt>
                <c:pt idx="7">
                  <c:v>86</c:v>
                </c:pt>
                <c:pt idx="8">
                  <c:v>102</c:v>
                </c:pt>
                <c:pt idx="9">
                  <c:v>103</c:v>
                </c:pt>
                <c:pt idx="10">
                  <c:v>123</c:v>
                </c:pt>
                <c:pt idx="11">
                  <c:v>118</c:v>
                </c:pt>
                <c:pt idx="12">
                  <c:v>131</c:v>
                </c:pt>
                <c:pt idx="13">
                  <c:v>135</c:v>
                </c:pt>
                <c:pt idx="14">
                  <c:v>145</c:v>
                </c:pt>
                <c:pt idx="15">
                  <c:v>166</c:v>
                </c:pt>
                <c:pt idx="16">
                  <c:v>193</c:v>
                </c:pt>
                <c:pt idx="17">
                  <c:v>206</c:v>
                </c:pt>
                <c:pt idx="18">
                  <c:v>221</c:v>
                </c:pt>
                <c:pt idx="19">
                  <c:v>233</c:v>
                </c:pt>
                <c:pt idx="20">
                  <c:v>267</c:v>
                </c:pt>
                <c:pt idx="21">
                  <c:v>270</c:v>
                </c:pt>
                <c:pt idx="22">
                  <c:v>307</c:v>
                </c:pt>
                <c:pt idx="23">
                  <c:v>347</c:v>
                </c:pt>
                <c:pt idx="24">
                  <c:v>382</c:v>
                </c:pt>
                <c:pt idx="25">
                  <c:v>401</c:v>
                </c:pt>
                <c:pt idx="26">
                  <c:v>412</c:v>
                </c:pt>
                <c:pt idx="27">
                  <c:v>443</c:v>
                </c:pt>
                <c:pt idx="28">
                  <c:v>469</c:v>
                </c:pt>
                <c:pt idx="29">
                  <c:v>500</c:v>
                </c:pt>
                <c:pt idx="30">
                  <c:v>535</c:v>
                </c:pt>
                <c:pt idx="31">
                  <c:v>569</c:v>
                </c:pt>
                <c:pt idx="32">
                  <c:v>599</c:v>
                </c:pt>
                <c:pt idx="33">
                  <c:v>625</c:v>
                </c:pt>
                <c:pt idx="34">
                  <c:v>691</c:v>
                </c:pt>
                <c:pt idx="35">
                  <c:v>735</c:v>
                </c:pt>
                <c:pt idx="36">
                  <c:v>816</c:v>
                </c:pt>
                <c:pt idx="37">
                  <c:v>896</c:v>
                </c:pt>
                <c:pt idx="38">
                  <c:v>964</c:v>
                </c:pt>
                <c:pt idx="39">
                  <c:v>1023</c:v>
                </c:pt>
                <c:pt idx="40">
                  <c:v>1092</c:v>
                </c:pt>
                <c:pt idx="41">
                  <c:v>1177</c:v>
                </c:pt>
                <c:pt idx="42">
                  <c:v>1195</c:v>
                </c:pt>
                <c:pt idx="43">
                  <c:v>1321</c:v>
                </c:pt>
                <c:pt idx="44">
                  <c:v>1501</c:v>
                </c:pt>
                <c:pt idx="45">
                  <c:v>1604</c:v>
                </c:pt>
                <c:pt idx="46">
                  <c:v>1671</c:v>
                </c:pt>
                <c:pt idx="47">
                  <c:v>1774</c:v>
                </c:pt>
                <c:pt idx="48">
                  <c:v>1895</c:v>
                </c:pt>
                <c:pt idx="49">
                  <c:v>2032</c:v>
                </c:pt>
                <c:pt idx="50">
                  <c:v>2182</c:v>
                </c:pt>
                <c:pt idx="51">
                  <c:v>2317</c:v>
                </c:pt>
                <c:pt idx="52">
                  <c:v>2379</c:v>
                </c:pt>
                <c:pt idx="53">
                  <c:v>2494</c:v>
                </c:pt>
                <c:pt idx="54">
                  <c:v>2631</c:v>
                </c:pt>
                <c:pt idx="55">
                  <c:v>2836</c:v>
                </c:pt>
                <c:pt idx="56">
                  <c:v>2972</c:v>
                </c:pt>
                <c:pt idx="57">
                  <c:v>3035</c:v>
                </c:pt>
                <c:pt idx="58">
                  <c:v>3251</c:v>
                </c:pt>
                <c:pt idx="59">
                  <c:v>3298</c:v>
                </c:pt>
                <c:pt idx="60">
                  <c:v>3360</c:v>
                </c:pt>
                <c:pt idx="61">
                  <c:v>3443</c:v>
                </c:pt>
                <c:pt idx="62">
                  <c:v>3561</c:v>
                </c:pt>
                <c:pt idx="63">
                  <c:v>3581</c:v>
                </c:pt>
                <c:pt idx="64">
                  <c:v>3557</c:v>
                </c:pt>
                <c:pt idx="65">
                  <c:v>3485</c:v>
                </c:pt>
                <c:pt idx="66">
                  <c:v>3424</c:v>
                </c:pt>
                <c:pt idx="67">
                  <c:v>3350</c:v>
                </c:pt>
                <c:pt idx="68">
                  <c:v>3354</c:v>
                </c:pt>
                <c:pt idx="69">
                  <c:v>3290</c:v>
                </c:pt>
                <c:pt idx="70">
                  <c:v>3196</c:v>
                </c:pt>
                <c:pt idx="71">
                  <c:v>2967</c:v>
                </c:pt>
                <c:pt idx="72">
                  <c:v>2890</c:v>
                </c:pt>
                <c:pt idx="73">
                  <c:v>2750</c:v>
                </c:pt>
                <c:pt idx="74">
                  <c:v>2630</c:v>
                </c:pt>
                <c:pt idx="75">
                  <c:v>2555</c:v>
                </c:pt>
                <c:pt idx="76">
                  <c:v>2561</c:v>
                </c:pt>
                <c:pt idx="77">
                  <c:v>2486</c:v>
                </c:pt>
                <c:pt idx="78">
                  <c:v>2443</c:v>
                </c:pt>
                <c:pt idx="79">
                  <c:v>2364</c:v>
                </c:pt>
                <c:pt idx="80">
                  <c:v>2267</c:v>
                </c:pt>
                <c:pt idx="81">
                  <c:v>2144</c:v>
                </c:pt>
                <c:pt idx="82">
                  <c:v>2129</c:v>
                </c:pt>
                <c:pt idx="83">
                  <c:v>2158</c:v>
                </c:pt>
                <c:pt idx="84">
                  <c:v>2097</c:v>
                </c:pt>
                <c:pt idx="85">
                  <c:v>2023</c:v>
                </c:pt>
                <c:pt idx="86">
                  <c:v>1933</c:v>
                </c:pt>
                <c:pt idx="87">
                  <c:v>1809</c:v>
                </c:pt>
                <c:pt idx="88">
                  <c:v>1504</c:v>
                </c:pt>
                <c:pt idx="89">
                  <c:v>1544</c:v>
                </c:pt>
                <c:pt idx="90">
                  <c:v>1539</c:v>
                </c:pt>
                <c:pt idx="91">
                  <c:v>1529</c:v>
                </c:pt>
                <c:pt idx="92">
                  <c:v>1470</c:v>
                </c:pt>
                <c:pt idx="93">
                  <c:v>1463</c:v>
                </c:pt>
                <c:pt idx="94">
                  <c:v>1493</c:v>
                </c:pt>
                <c:pt idx="95">
                  <c:v>1479</c:v>
                </c:pt>
                <c:pt idx="96">
                  <c:v>1506</c:v>
                </c:pt>
                <c:pt idx="97">
                  <c:v>1555</c:v>
                </c:pt>
                <c:pt idx="98">
                  <c:v>1526</c:v>
                </c:pt>
                <c:pt idx="99">
                  <c:v>1570</c:v>
                </c:pt>
                <c:pt idx="100">
                  <c:v>1590</c:v>
                </c:pt>
                <c:pt idx="101">
                  <c:v>1561</c:v>
                </c:pt>
                <c:pt idx="102">
                  <c:v>1603</c:v>
                </c:pt>
                <c:pt idx="103">
                  <c:v>1641</c:v>
                </c:pt>
                <c:pt idx="104">
                  <c:v>1681</c:v>
                </c:pt>
                <c:pt idx="105">
                  <c:v>1705</c:v>
                </c:pt>
                <c:pt idx="106">
                  <c:v>1689</c:v>
                </c:pt>
                <c:pt idx="107">
                  <c:v>1651</c:v>
                </c:pt>
                <c:pt idx="108">
                  <c:v>1653</c:v>
                </c:pt>
                <c:pt idx="109">
                  <c:v>1645</c:v>
                </c:pt>
                <c:pt idx="110">
                  <c:v>1680</c:v>
                </c:pt>
                <c:pt idx="111">
                  <c:v>1680</c:v>
                </c:pt>
                <c:pt idx="112">
                  <c:v>1715</c:v>
                </c:pt>
                <c:pt idx="113">
                  <c:v>1737</c:v>
                </c:pt>
                <c:pt idx="114">
                  <c:v>1647</c:v>
                </c:pt>
                <c:pt idx="115">
                  <c:v>1750</c:v>
                </c:pt>
                <c:pt idx="116">
                  <c:v>1862</c:v>
                </c:pt>
                <c:pt idx="117">
                  <c:v>1988</c:v>
                </c:pt>
                <c:pt idx="118">
                  <c:v>2297</c:v>
                </c:pt>
                <c:pt idx="119">
                  <c:v>2357</c:v>
                </c:pt>
                <c:pt idx="120">
                  <c:v>2480</c:v>
                </c:pt>
                <c:pt idx="121">
                  <c:v>2501</c:v>
                </c:pt>
                <c:pt idx="122">
                  <c:v>2500</c:v>
                </c:pt>
                <c:pt idx="123">
                  <c:v>2685</c:v>
                </c:pt>
                <c:pt idx="124">
                  <c:v>2801</c:v>
                </c:pt>
                <c:pt idx="125">
                  <c:v>3024</c:v>
                </c:pt>
                <c:pt idx="126">
                  <c:v>3052</c:v>
                </c:pt>
                <c:pt idx="127">
                  <c:v>3084</c:v>
                </c:pt>
                <c:pt idx="128">
                  <c:v>3077</c:v>
                </c:pt>
                <c:pt idx="129">
                  <c:v>2935</c:v>
                </c:pt>
                <c:pt idx="130">
                  <c:v>2966</c:v>
                </c:pt>
                <c:pt idx="131">
                  <c:v>2973</c:v>
                </c:pt>
                <c:pt idx="132">
                  <c:v>2975</c:v>
                </c:pt>
                <c:pt idx="133">
                  <c:v>3043</c:v>
                </c:pt>
                <c:pt idx="134">
                  <c:v>2965</c:v>
                </c:pt>
                <c:pt idx="135">
                  <c:v>2924</c:v>
                </c:pt>
                <c:pt idx="136">
                  <c:v>2872</c:v>
                </c:pt>
                <c:pt idx="137">
                  <c:v>2757</c:v>
                </c:pt>
                <c:pt idx="138">
                  <c:v>2745</c:v>
                </c:pt>
                <c:pt idx="139">
                  <c:v>2703</c:v>
                </c:pt>
                <c:pt idx="140">
                  <c:v>2640</c:v>
                </c:pt>
                <c:pt idx="141">
                  <c:v>2595</c:v>
                </c:pt>
                <c:pt idx="142">
                  <c:v>2590</c:v>
                </c:pt>
                <c:pt idx="143">
                  <c:v>2555</c:v>
                </c:pt>
                <c:pt idx="144">
                  <c:v>2521</c:v>
                </c:pt>
                <c:pt idx="145">
                  <c:v>2522</c:v>
                </c:pt>
                <c:pt idx="146">
                  <c:v>2545</c:v>
                </c:pt>
                <c:pt idx="147">
                  <c:v>2526</c:v>
                </c:pt>
                <c:pt idx="148">
                  <c:v>2418</c:v>
                </c:pt>
                <c:pt idx="149">
                  <c:v>2360</c:v>
                </c:pt>
                <c:pt idx="150">
                  <c:v>2342</c:v>
                </c:pt>
                <c:pt idx="151">
                  <c:v>2377</c:v>
                </c:pt>
                <c:pt idx="152">
                  <c:v>2373</c:v>
                </c:pt>
                <c:pt idx="153">
                  <c:v>2456</c:v>
                </c:pt>
                <c:pt idx="154">
                  <c:v>2392</c:v>
                </c:pt>
                <c:pt idx="155">
                  <c:v>2414</c:v>
                </c:pt>
                <c:pt idx="156">
                  <c:v>2394</c:v>
                </c:pt>
                <c:pt idx="157">
                  <c:v>2367</c:v>
                </c:pt>
                <c:pt idx="158">
                  <c:v>2345</c:v>
                </c:pt>
                <c:pt idx="159">
                  <c:v>2409</c:v>
                </c:pt>
                <c:pt idx="160">
                  <c:v>2472</c:v>
                </c:pt>
                <c:pt idx="161">
                  <c:v>2489</c:v>
                </c:pt>
                <c:pt idx="162">
                  <c:v>2419</c:v>
                </c:pt>
                <c:pt idx="163">
                  <c:v>2453</c:v>
                </c:pt>
                <c:pt idx="164">
                  <c:v>2404</c:v>
                </c:pt>
                <c:pt idx="165">
                  <c:v>2470</c:v>
                </c:pt>
                <c:pt idx="166">
                  <c:v>2588</c:v>
                </c:pt>
                <c:pt idx="167">
                  <c:v>2620</c:v>
                </c:pt>
                <c:pt idx="168">
                  <c:v>2651</c:v>
                </c:pt>
                <c:pt idx="169">
                  <c:v>2715</c:v>
                </c:pt>
                <c:pt idx="170">
                  <c:v>2756</c:v>
                </c:pt>
                <c:pt idx="171">
                  <c:v>2677</c:v>
                </c:pt>
                <c:pt idx="172">
                  <c:v>2684</c:v>
                </c:pt>
                <c:pt idx="173">
                  <c:v>2806</c:v>
                </c:pt>
                <c:pt idx="174">
                  <c:v>3000</c:v>
                </c:pt>
                <c:pt idx="175">
                  <c:v>3019</c:v>
                </c:pt>
                <c:pt idx="176">
                  <c:v>3030</c:v>
                </c:pt>
                <c:pt idx="177">
                  <c:v>3041</c:v>
                </c:pt>
                <c:pt idx="178">
                  <c:v>3127</c:v>
                </c:pt>
                <c:pt idx="179">
                  <c:v>3233</c:v>
                </c:pt>
                <c:pt idx="180">
                  <c:v>3371</c:v>
                </c:pt>
                <c:pt idx="181">
                  <c:v>3575</c:v>
                </c:pt>
                <c:pt idx="182">
                  <c:v>3620</c:v>
                </c:pt>
                <c:pt idx="183">
                  <c:v>3596</c:v>
                </c:pt>
                <c:pt idx="184">
                  <c:v>3680</c:v>
                </c:pt>
                <c:pt idx="185">
                  <c:v>3707</c:v>
                </c:pt>
                <c:pt idx="186">
                  <c:v>3787</c:v>
                </c:pt>
                <c:pt idx="187">
                  <c:v>3875</c:v>
                </c:pt>
                <c:pt idx="188">
                  <c:v>3927</c:v>
                </c:pt>
                <c:pt idx="189">
                  <c:v>3943</c:v>
                </c:pt>
                <c:pt idx="190">
                  <c:v>3956</c:v>
                </c:pt>
                <c:pt idx="191">
                  <c:v>3926</c:v>
                </c:pt>
                <c:pt idx="192">
                  <c:v>3862</c:v>
                </c:pt>
                <c:pt idx="193">
                  <c:v>3973</c:v>
                </c:pt>
                <c:pt idx="194">
                  <c:v>4042</c:v>
                </c:pt>
                <c:pt idx="195">
                  <c:v>4188</c:v>
                </c:pt>
                <c:pt idx="196">
                  <c:v>4103</c:v>
                </c:pt>
                <c:pt idx="197">
                  <c:v>4024</c:v>
                </c:pt>
                <c:pt idx="198">
                  <c:v>3995</c:v>
                </c:pt>
                <c:pt idx="199">
                  <c:v>3792</c:v>
                </c:pt>
                <c:pt idx="200">
                  <c:v>3718</c:v>
                </c:pt>
                <c:pt idx="201">
                  <c:v>3795</c:v>
                </c:pt>
                <c:pt idx="202">
                  <c:v>3812</c:v>
                </c:pt>
                <c:pt idx="203">
                  <c:v>3682</c:v>
                </c:pt>
                <c:pt idx="204">
                  <c:v>3538</c:v>
                </c:pt>
                <c:pt idx="207">
                  <c:v>3355</c:v>
                </c:pt>
                <c:pt idx="208">
                  <c:v>3384</c:v>
                </c:pt>
                <c:pt idx="209">
                  <c:v>3357</c:v>
                </c:pt>
                <c:pt idx="210">
                  <c:v>3283</c:v>
                </c:pt>
                <c:pt idx="211">
                  <c:v>3147</c:v>
                </c:pt>
                <c:pt idx="212">
                  <c:v>2999</c:v>
                </c:pt>
                <c:pt idx="213">
                  <c:v>2814</c:v>
                </c:pt>
                <c:pt idx="214">
                  <c:v>2771</c:v>
                </c:pt>
                <c:pt idx="215">
                  <c:v>2831</c:v>
                </c:pt>
                <c:pt idx="216">
                  <c:v>2844</c:v>
                </c:pt>
                <c:pt idx="217">
                  <c:v>3043</c:v>
                </c:pt>
                <c:pt idx="218">
                  <c:v>2867</c:v>
                </c:pt>
                <c:pt idx="219">
                  <c:v>2688</c:v>
                </c:pt>
                <c:pt idx="220">
                  <c:v>2417</c:v>
                </c:pt>
                <c:pt idx="221">
                  <c:v>2322</c:v>
                </c:pt>
                <c:pt idx="222">
                  <c:v>2337</c:v>
                </c:pt>
                <c:pt idx="223">
                  <c:v>2332</c:v>
                </c:pt>
                <c:pt idx="224">
                  <c:v>2238</c:v>
                </c:pt>
                <c:pt idx="225">
                  <c:v>2108</c:v>
                </c:pt>
                <c:pt idx="226">
                  <c:v>1931</c:v>
                </c:pt>
                <c:pt idx="227">
                  <c:v>1785</c:v>
                </c:pt>
                <c:pt idx="228">
                  <c:v>1749</c:v>
                </c:pt>
                <c:pt idx="229">
                  <c:v>1756</c:v>
                </c:pt>
                <c:pt idx="230">
                  <c:v>1811</c:v>
                </c:pt>
                <c:pt idx="231">
                  <c:v>1708</c:v>
                </c:pt>
                <c:pt idx="232">
                  <c:v>1614</c:v>
                </c:pt>
                <c:pt idx="233">
                  <c:v>1528</c:v>
                </c:pt>
                <c:pt idx="234">
                  <c:v>1425</c:v>
                </c:pt>
                <c:pt idx="235">
                  <c:v>1356</c:v>
                </c:pt>
                <c:pt idx="236">
                  <c:v>1356</c:v>
                </c:pt>
                <c:pt idx="237">
                  <c:v>1304</c:v>
                </c:pt>
                <c:pt idx="238">
                  <c:v>1280</c:v>
                </c:pt>
                <c:pt idx="239">
                  <c:v>1241</c:v>
                </c:pt>
                <c:pt idx="240">
                  <c:v>1187</c:v>
                </c:pt>
                <c:pt idx="241">
                  <c:v>1141</c:v>
                </c:pt>
                <c:pt idx="242">
                  <c:v>1147</c:v>
                </c:pt>
                <c:pt idx="243">
                  <c:v>1138</c:v>
                </c:pt>
                <c:pt idx="244">
                  <c:v>1134</c:v>
                </c:pt>
                <c:pt idx="245">
                  <c:v>1062</c:v>
                </c:pt>
                <c:pt idx="246">
                  <c:v>991</c:v>
                </c:pt>
                <c:pt idx="247" formatCode="General">
                  <c:v>933</c:v>
                </c:pt>
                <c:pt idx="248" formatCode="General">
                  <c:v>87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104-425A-AF38-9D46A1453BD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09852104"/>
        <c:axId val="309852888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tdLuzekKyslikDOSTUP</c:v>
                </c:pt>
              </c:strCache>
            </c:strRef>
          </c:tx>
          <c:spPr>
            <a:ln w="28575" cap="rnd">
              <a:solidFill>
                <a:srgbClr val="0070C0"/>
              </a:solidFill>
              <a:round/>
            </a:ln>
            <a:effectLst/>
          </c:spPr>
          <c:marker>
            <c:symbol val="none"/>
          </c:marker>
          <c:dLbls>
            <c:dLbl>
              <c:idx val="235"/>
              <c:delete val="1"/>
              <c:extLst>
                <c:ext xmlns:c15="http://schemas.microsoft.com/office/drawing/2012/chart" uri="{CE6537A1-D6FC-4f65-9D91-7224C49458BB}">
                  <c15:layout>
                    <c:manualLayout>
                      <c:w val="7.0756781770201477E-2"/>
                      <c:h val="7.9078959092664172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0-BF71-4F3F-B6D3-283E975E68D4}"/>
                </c:ext>
              </c:extLst>
            </c:dLbl>
            <c:dLbl>
              <c:idx val="242"/>
              <c:layout>
                <c:manualLayout>
                  <c:x val="0"/>
                  <c:y val="-5.3886854577624647E-2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6 402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1-BF71-4F3F-B6D3-283E975E68D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rgbClr val="0070C0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250</c:f>
              <c:numCache>
                <c:formatCode>m/d/yyyy</c:formatCode>
                <c:ptCount val="249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</c:numCache>
            </c:numRef>
          </c:cat>
          <c:val>
            <c:numRef>
              <c:f>Sheet1!$B$2:$B$250</c:f>
              <c:numCache>
                <c:formatCode>#,##0</c:formatCode>
                <c:ptCount val="249"/>
                <c:pt idx="0">
                  <c:v>8160</c:v>
                </c:pt>
                <c:pt idx="1">
                  <c:v>8175</c:v>
                </c:pt>
                <c:pt idx="2">
                  <c:v>7876</c:v>
                </c:pt>
                <c:pt idx="3">
                  <c:v>8034</c:v>
                </c:pt>
                <c:pt idx="4">
                  <c:v>8049</c:v>
                </c:pt>
                <c:pt idx="5">
                  <c:v>8080</c:v>
                </c:pt>
                <c:pt idx="6">
                  <c:v>7818</c:v>
                </c:pt>
                <c:pt idx="7">
                  <c:v>7658</c:v>
                </c:pt>
                <c:pt idx="8">
                  <c:v>7288</c:v>
                </c:pt>
                <c:pt idx="9">
                  <c:v>6975</c:v>
                </c:pt>
                <c:pt idx="10">
                  <c:v>7427</c:v>
                </c:pt>
                <c:pt idx="11">
                  <c:v>7828</c:v>
                </c:pt>
                <c:pt idx="12">
                  <c:v>7802</c:v>
                </c:pt>
                <c:pt idx="13">
                  <c:v>7675</c:v>
                </c:pt>
                <c:pt idx="14">
                  <c:v>7313</c:v>
                </c:pt>
                <c:pt idx="15">
                  <c:v>7258</c:v>
                </c:pt>
                <c:pt idx="16">
                  <c:v>6887</c:v>
                </c:pt>
                <c:pt idx="17">
                  <c:v>7283</c:v>
                </c:pt>
                <c:pt idx="18">
                  <c:v>7517</c:v>
                </c:pt>
                <c:pt idx="19">
                  <c:v>7553</c:v>
                </c:pt>
                <c:pt idx="20">
                  <c:v>7203</c:v>
                </c:pt>
                <c:pt idx="21">
                  <c:v>6738</c:v>
                </c:pt>
                <c:pt idx="22">
                  <c:v>6476</c:v>
                </c:pt>
                <c:pt idx="23">
                  <c:v>6259</c:v>
                </c:pt>
                <c:pt idx="24">
                  <c:v>6782</c:v>
                </c:pt>
                <c:pt idx="25">
                  <c:v>7421</c:v>
                </c:pt>
                <c:pt idx="26">
                  <c:v>7562</c:v>
                </c:pt>
                <c:pt idx="27">
                  <c:v>7541</c:v>
                </c:pt>
                <c:pt idx="28">
                  <c:v>6717</c:v>
                </c:pt>
                <c:pt idx="29">
                  <c:v>6671</c:v>
                </c:pt>
                <c:pt idx="30">
                  <c:v>6463</c:v>
                </c:pt>
                <c:pt idx="31">
                  <c:v>6721</c:v>
                </c:pt>
                <c:pt idx="32">
                  <c:v>6964</c:v>
                </c:pt>
                <c:pt idx="33">
                  <c:v>7156</c:v>
                </c:pt>
                <c:pt idx="34">
                  <c:v>6765</c:v>
                </c:pt>
                <c:pt idx="35">
                  <c:v>6512</c:v>
                </c:pt>
                <c:pt idx="36">
                  <c:v>6743</c:v>
                </c:pt>
                <c:pt idx="37">
                  <c:v>6777</c:v>
                </c:pt>
                <c:pt idx="38">
                  <c:v>7265</c:v>
                </c:pt>
                <c:pt idx="39">
                  <c:v>7755</c:v>
                </c:pt>
                <c:pt idx="40">
                  <c:v>7663</c:v>
                </c:pt>
                <c:pt idx="41">
                  <c:v>7401</c:v>
                </c:pt>
                <c:pt idx="42">
                  <c:v>7339</c:v>
                </c:pt>
                <c:pt idx="43">
                  <c:v>7219</c:v>
                </c:pt>
                <c:pt idx="44">
                  <c:v>7063</c:v>
                </c:pt>
                <c:pt idx="45">
                  <c:v>7500</c:v>
                </c:pt>
                <c:pt idx="46">
                  <c:v>7888</c:v>
                </c:pt>
                <c:pt idx="47">
                  <c:v>7577</c:v>
                </c:pt>
                <c:pt idx="48">
                  <c:v>7670</c:v>
                </c:pt>
                <c:pt idx="49">
                  <c:v>7640</c:v>
                </c:pt>
                <c:pt idx="50">
                  <c:v>7733</c:v>
                </c:pt>
                <c:pt idx="51">
                  <c:v>7555</c:v>
                </c:pt>
                <c:pt idx="52">
                  <c:v>7863</c:v>
                </c:pt>
                <c:pt idx="53">
                  <c:v>7943</c:v>
                </c:pt>
                <c:pt idx="54">
                  <c:v>7872</c:v>
                </c:pt>
                <c:pt idx="55">
                  <c:v>7618</c:v>
                </c:pt>
                <c:pt idx="56">
                  <c:v>7794</c:v>
                </c:pt>
                <c:pt idx="57">
                  <c:v>7657</c:v>
                </c:pt>
                <c:pt idx="58">
                  <c:v>7480</c:v>
                </c:pt>
                <c:pt idx="59">
                  <c:v>7722</c:v>
                </c:pt>
                <c:pt idx="60">
                  <c:v>7620</c:v>
                </c:pt>
                <c:pt idx="61">
                  <c:v>7535</c:v>
                </c:pt>
                <c:pt idx="62">
                  <c:v>7216</c:v>
                </c:pt>
                <c:pt idx="63">
                  <c:v>7090</c:v>
                </c:pt>
                <c:pt idx="64">
                  <c:v>7085</c:v>
                </c:pt>
                <c:pt idx="65">
                  <c:v>7121</c:v>
                </c:pt>
                <c:pt idx="66">
                  <c:v>7293</c:v>
                </c:pt>
                <c:pt idx="67">
                  <c:v>7506</c:v>
                </c:pt>
                <c:pt idx="68">
                  <c:v>7478</c:v>
                </c:pt>
                <c:pt idx="69">
                  <c:v>7198</c:v>
                </c:pt>
                <c:pt idx="70">
                  <c:v>6946</c:v>
                </c:pt>
                <c:pt idx="71">
                  <c:v>6789</c:v>
                </c:pt>
                <c:pt idx="72">
                  <c:v>6717</c:v>
                </c:pt>
                <c:pt idx="73">
                  <c:v>6812</c:v>
                </c:pt>
                <c:pt idx="74">
                  <c:v>7056</c:v>
                </c:pt>
                <c:pt idx="75">
                  <c:v>7116</c:v>
                </c:pt>
                <c:pt idx="76">
                  <c:v>7029</c:v>
                </c:pt>
                <c:pt idx="77">
                  <c:v>7176</c:v>
                </c:pt>
                <c:pt idx="78">
                  <c:v>6928</c:v>
                </c:pt>
                <c:pt idx="79">
                  <c:v>6611</c:v>
                </c:pt>
                <c:pt idx="80">
                  <c:v>6876</c:v>
                </c:pt>
                <c:pt idx="81">
                  <c:v>7187</c:v>
                </c:pt>
                <c:pt idx="82">
                  <c:v>7176</c:v>
                </c:pt>
                <c:pt idx="83">
                  <c:v>6774</c:v>
                </c:pt>
                <c:pt idx="84">
                  <c:v>6591</c:v>
                </c:pt>
                <c:pt idx="85">
                  <c:v>6440</c:v>
                </c:pt>
                <c:pt idx="86">
                  <c:v>6558</c:v>
                </c:pt>
                <c:pt idx="87">
                  <c:v>6776</c:v>
                </c:pt>
                <c:pt idx="88">
                  <c:v>7102</c:v>
                </c:pt>
                <c:pt idx="89">
                  <c:v>6937</c:v>
                </c:pt>
                <c:pt idx="90">
                  <c:v>6713</c:v>
                </c:pt>
                <c:pt idx="91">
                  <c:v>6539</c:v>
                </c:pt>
                <c:pt idx="92">
                  <c:v>6499</c:v>
                </c:pt>
                <c:pt idx="93">
                  <c:v>6361</c:v>
                </c:pt>
                <c:pt idx="94">
                  <c:v>6588</c:v>
                </c:pt>
                <c:pt idx="95">
                  <c:v>6880</c:v>
                </c:pt>
                <c:pt idx="96">
                  <c:v>6798</c:v>
                </c:pt>
                <c:pt idx="97">
                  <c:v>6534</c:v>
                </c:pt>
                <c:pt idx="98">
                  <c:v>6218</c:v>
                </c:pt>
                <c:pt idx="99">
                  <c:v>6057</c:v>
                </c:pt>
                <c:pt idx="100">
                  <c:v>5839</c:v>
                </c:pt>
                <c:pt idx="101">
                  <c:v>6239</c:v>
                </c:pt>
                <c:pt idx="102">
                  <c:v>6584</c:v>
                </c:pt>
                <c:pt idx="103">
                  <c:v>6689</c:v>
                </c:pt>
                <c:pt idx="104">
                  <c:v>6329</c:v>
                </c:pt>
                <c:pt idx="105">
                  <c:v>6187</c:v>
                </c:pt>
                <c:pt idx="106">
                  <c:v>6016</c:v>
                </c:pt>
                <c:pt idx="107">
                  <c:v>6079</c:v>
                </c:pt>
                <c:pt idx="108">
                  <c:v>6390</c:v>
                </c:pt>
                <c:pt idx="109">
                  <c:v>7001</c:v>
                </c:pt>
                <c:pt idx="110">
                  <c:v>6923</c:v>
                </c:pt>
                <c:pt idx="111">
                  <c:v>6715</c:v>
                </c:pt>
                <c:pt idx="112">
                  <c:v>7026</c:v>
                </c:pt>
                <c:pt idx="113">
                  <c:v>7756</c:v>
                </c:pt>
                <c:pt idx="114">
                  <c:v>8241</c:v>
                </c:pt>
                <c:pt idx="115">
                  <c:v>8278</c:v>
                </c:pt>
                <c:pt idx="116">
                  <c:v>8026</c:v>
                </c:pt>
                <c:pt idx="117">
                  <c:v>7626</c:v>
                </c:pt>
                <c:pt idx="118">
                  <c:v>6892</c:v>
                </c:pt>
                <c:pt idx="119">
                  <c:v>6611</c:v>
                </c:pt>
                <c:pt idx="120">
                  <c:v>6536</c:v>
                </c:pt>
                <c:pt idx="121">
                  <c:v>6823</c:v>
                </c:pt>
                <c:pt idx="122">
                  <c:v>7074</c:v>
                </c:pt>
                <c:pt idx="123">
                  <c:v>6801</c:v>
                </c:pt>
                <c:pt idx="124">
                  <c:v>6380</c:v>
                </c:pt>
                <c:pt idx="125">
                  <c:v>5891</c:v>
                </c:pt>
                <c:pt idx="126">
                  <c:v>5626</c:v>
                </c:pt>
                <c:pt idx="127">
                  <c:v>5545</c:v>
                </c:pt>
                <c:pt idx="128">
                  <c:v>5523</c:v>
                </c:pt>
                <c:pt idx="129">
                  <c:v>5704</c:v>
                </c:pt>
                <c:pt idx="130">
                  <c:v>6175</c:v>
                </c:pt>
                <c:pt idx="131">
                  <c:v>6044</c:v>
                </c:pt>
                <c:pt idx="132">
                  <c:v>5711</c:v>
                </c:pt>
                <c:pt idx="133">
                  <c:v>5576</c:v>
                </c:pt>
                <c:pt idx="134">
                  <c:v>5644</c:v>
                </c:pt>
                <c:pt idx="135">
                  <c:v>5499</c:v>
                </c:pt>
                <c:pt idx="136">
                  <c:v>5803</c:v>
                </c:pt>
                <c:pt idx="137">
                  <c:v>6140</c:v>
                </c:pt>
                <c:pt idx="138">
                  <c:v>6093</c:v>
                </c:pt>
                <c:pt idx="139">
                  <c:v>5870</c:v>
                </c:pt>
                <c:pt idx="140">
                  <c:v>5854</c:v>
                </c:pt>
                <c:pt idx="141">
                  <c:v>5899</c:v>
                </c:pt>
                <c:pt idx="142">
                  <c:v>5776</c:v>
                </c:pt>
                <c:pt idx="143">
                  <c:v>6024</c:v>
                </c:pt>
                <c:pt idx="144">
                  <c:v>6232</c:v>
                </c:pt>
                <c:pt idx="145">
                  <c:v>6179</c:v>
                </c:pt>
                <c:pt idx="146">
                  <c:v>5805</c:v>
                </c:pt>
                <c:pt idx="147">
                  <c:v>5737</c:v>
                </c:pt>
                <c:pt idx="148">
                  <c:v>5724</c:v>
                </c:pt>
                <c:pt idx="149">
                  <c:v>5700</c:v>
                </c:pt>
                <c:pt idx="150">
                  <c:v>5983</c:v>
                </c:pt>
                <c:pt idx="151">
                  <c:v>6522</c:v>
                </c:pt>
                <c:pt idx="152">
                  <c:v>6366</c:v>
                </c:pt>
                <c:pt idx="153">
                  <c:v>6063</c:v>
                </c:pt>
                <c:pt idx="154">
                  <c:v>5772</c:v>
                </c:pt>
                <c:pt idx="155">
                  <c:v>5641</c:v>
                </c:pt>
                <c:pt idx="156">
                  <c:v>5673</c:v>
                </c:pt>
                <c:pt idx="157">
                  <c:v>5928</c:v>
                </c:pt>
                <c:pt idx="158">
                  <c:v>6183</c:v>
                </c:pt>
                <c:pt idx="159">
                  <c:v>6027</c:v>
                </c:pt>
                <c:pt idx="160">
                  <c:v>5727</c:v>
                </c:pt>
                <c:pt idx="161">
                  <c:v>5640</c:v>
                </c:pt>
                <c:pt idx="162">
                  <c:v>5479</c:v>
                </c:pt>
                <c:pt idx="163">
                  <c:v>5489</c:v>
                </c:pt>
                <c:pt idx="164">
                  <c:v>5829</c:v>
                </c:pt>
                <c:pt idx="165">
                  <c:v>6224</c:v>
                </c:pt>
                <c:pt idx="166">
                  <c:v>6055</c:v>
                </c:pt>
                <c:pt idx="167">
                  <c:v>5637</c:v>
                </c:pt>
                <c:pt idx="168">
                  <c:v>5351</c:v>
                </c:pt>
                <c:pt idx="169">
                  <c:v>5169</c:v>
                </c:pt>
                <c:pt idx="170">
                  <c:v>5073</c:v>
                </c:pt>
                <c:pt idx="171">
                  <c:v>5144</c:v>
                </c:pt>
                <c:pt idx="172">
                  <c:v>5536</c:v>
                </c:pt>
                <c:pt idx="173">
                  <c:v>5481</c:v>
                </c:pt>
                <c:pt idx="174">
                  <c:v>5274</c:v>
                </c:pt>
                <c:pt idx="175">
                  <c:v>5126</c:v>
                </c:pt>
                <c:pt idx="176">
                  <c:v>5121</c:v>
                </c:pt>
                <c:pt idx="177">
                  <c:v>5015</c:v>
                </c:pt>
                <c:pt idx="178">
                  <c:v>5258</c:v>
                </c:pt>
                <c:pt idx="179">
                  <c:v>5413</c:v>
                </c:pt>
                <c:pt idx="180">
                  <c:v>5376</c:v>
                </c:pt>
                <c:pt idx="181">
                  <c:v>5243</c:v>
                </c:pt>
                <c:pt idx="182">
                  <c:v>5068</c:v>
                </c:pt>
                <c:pt idx="183">
                  <c:v>5112</c:v>
                </c:pt>
                <c:pt idx="184">
                  <c:v>5150</c:v>
                </c:pt>
                <c:pt idx="185">
                  <c:v>5422</c:v>
                </c:pt>
                <c:pt idx="186">
                  <c:v>5649</c:v>
                </c:pt>
                <c:pt idx="187">
                  <c:v>5510</c:v>
                </c:pt>
                <c:pt idx="188">
                  <c:v>5272</c:v>
                </c:pt>
                <c:pt idx="189">
                  <c:v>5192</c:v>
                </c:pt>
                <c:pt idx="190">
                  <c:v>5090</c:v>
                </c:pt>
                <c:pt idx="191">
                  <c:v>5114</c:v>
                </c:pt>
                <c:pt idx="192">
                  <c:v>5348</c:v>
                </c:pt>
                <c:pt idx="193">
                  <c:v>5548</c:v>
                </c:pt>
                <c:pt idx="194">
                  <c:v>5347</c:v>
                </c:pt>
                <c:pt idx="195">
                  <c:v>5117</c:v>
                </c:pt>
                <c:pt idx="196">
                  <c:v>5079</c:v>
                </c:pt>
                <c:pt idx="197">
                  <c:v>4981</c:v>
                </c:pt>
                <c:pt idx="198">
                  <c:v>4955</c:v>
                </c:pt>
                <c:pt idx="199">
                  <c:v>5105</c:v>
                </c:pt>
                <c:pt idx="200">
                  <c:v>5311</c:v>
                </c:pt>
                <c:pt idx="201">
                  <c:v>5216</c:v>
                </c:pt>
                <c:pt idx="202">
                  <c:v>4939</c:v>
                </c:pt>
                <c:pt idx="203">
                  <c:v>4945</c:v>
                </c:pt>
                <c:pt idx="204">
                  <c:v>4945</c:v>
                </c:pt>
                <c:pt idx="207">
                  <c:v>5577</c:v>
                </c:pt>
                <c:pt idx="208">
                  <c:v>5461</c:v>
                </c:pt>
                <c:pt idx="209">
                  <c:v>5550</c:v>
                </c:pt>
                <c:pt idx="210">
                  <c:v>5584</c:v>
                </c:pt>
                <c:pt idx="211">
                  <c:v>5620</c:v>
                </c:pt>
                <c:pt idx="212">
                  <c:v>6031</c:v>
                </c:pt>
                <c:pt idx="213">
                  <c:v>6629</c:v>
                </c:pt>
                <c:pt idx="214">
                  <c:v>6682</c:v>
                </c:pt>
                <c:pt idx="215">
                  <c:v>6625</c:v>
                </c:pt>
                <c:pt idx="216">
                  <c:v>6420</c:v>
                </c:pt>
                <c:pt idx="217">
                  <c:v>6045</c:v>
                </c:pt>
                <c:pt idx="218">
                  <c:v>5949</c:v>
                </c:pt>
                <c:pt idx="219">
                  <c:v>5662</c:v>
                </c:pt>
                <c:pt idx="220">
                  <c:v>6153</c:v>
                </c:pt>
                <c:pt idx="221">
                  <c:v>6546</c:v>
                </c:pt>
                <c:pt idx="222">
                  <c:v>6615</c:v>
                </c:pt>
                <c:pt idx="223">
                  <c:v>6320</c:v>
                </c:pt>
                <c:pt idx="224">
                  <c:v>6245</c:v>
                </c:pt>
                <c:pt idx="225">
                  <c:v>6340</c:v>
                </c:pt>
                <c:pt idx="226">
                  <c:v>6304</c:v>
                </c:pt>
                <c:pt idx="227">
                  <c:v>6414</c:v>
                </c:pt>
                <c:pt idx="228">
                  <c:v>6809</c:v>
                </c:pt>
                <c:pt idx="229">
                  <c:v>6804</c:v>
                </c:pt>
                <c:pt idx="230">
                  <c:v>6537</c:v>
                </c:pt>
                <c:pt idx="231">
                  <c:v>6340</c:v>
                </c:pt>
                <c:pt idx="232">
                  <c:v>6185</c:v>
                </c:pt>
                <c:pt idx="233">
                  <c:v>6341</c:v>
                </c:pt>
                <c:pt idx="234">
                  <c:v>6541</c:v>
                </c:pt>
                <c:pt idx="235">
                  <c:v>6698</c:v>
                </c:pt>
                <c:pt idx="236">
                  <c:v>6777</c:v>
                </c:pt>
                <c:pt idx="237">
                  <c:v>6693</c:v>
                </c:pt>
                <c:pt idx="238">
                  <c:v>6438</c:v>
                </c:pt>
                <c:pt idx="239">
                  <c:v>6257</c:v>
                </c:pt>
                <c:pt idx="240">
                  <c:v>6287</c:v>
                </c:pt>
                <c:pt idx="241">
                  <c:v>6605</c:v>
                </c:pt>
                <c:pt idx="242">
                  <c:v>6762</c:v>
                </c:pt>
                <c:pt idx="243">
                  <c:v>6758</c:v>
                </c:pt>
                <c:pt idx="244">
                  <c:v>6648</c:v>
                </c:pt>
                <c:pt idx="245">
                  <c:v>6485</c:v>
                </c:pt>
                <c:pt idx="246">
                  <c:v>6269</c:v>
                </c:pt>
                <c:pt idx="247">
                  <c:v>6208</c:v>
                </c:pt>
                <c:pt idx="248">
                  <c:v>64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6D-6104-425A-AF38-9D46A1453BD8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250</c:f>
              <c:numCache>
                <c:formatCode>m/d/yyyy</c:formatCode>
                <c:ptCount val="249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</c:numCache>
            </c:numRef>
          </c:cat>
          <c:val>
            <c:numRef>
              <c:f>Sheet1!$C$2:$C$250</c:f>
              <c:numCache>
                <c:formatCode>General</c:formatCode>
                <c:ptCount val="249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6E-6104-425A-AF38-9D46A1453BD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9852104"/>
        <c:axId val="309852888"/>
      </c:lineChart>
      <c:dateAx>
        <c:axId val="309852104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2888"/>
        <c:crosses val="autoZero"/>
        <c:auto val="1"/>
        <c:lblOffset val="100"/>
        <c:baseTimeUnit val="days"/>
      </c:dateAx>
      <c:valAx>
        <c:axId val="309852888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solidFill>
            <a:schemeClr val="bg1"/>
          </a:solidFill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21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0121511890472166E-2"/>
          <c:y val="6.42377980218857E-2"/>
          <c:w val="0.86174132132203507"/>
          <c:h val="0.67217062190521848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ECMO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A$2:$A$250</c:f>
              <c:numCache>
                <c:formatCode>m/d/yyyy</c:formatCode>
                <c:ptCount val="249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</c:numCache>
            </c:numRef>
          </c:cat>
          <c:val>
            <c:numRef>
              <c:f>Sheet1!$D$2:$D$250</c:f>
              <c:numCache>
                <c:formatCode>#,##0</c:formatCode>
                <c:ptCount val="249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1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1</c:v>
                </c:pt>
                <c:pt idx="14">
                  <c:v>1</c:v>
                </c:pt>
                <c:pt idx="15">
                  <c:v>2</c:v>
                </c:pt>
                <c:pt idx="16">
                  <c:v>4</c:v>
                </c:pt>
                <c:pt idx="17">
                  <c:v>4</c:v>
                </c:pt>
                <c:pt idx="18">
                  <c:v>3</c:v>
                </c:pt>
                <c:pt idx="19">
                  <c:v>3</c:v>
                </c:pt>
                <c:pt idx="20">
                  <c:v>3</c:v>
                </c:pt>
                <c:pt idx="21">
                  <c:v>2</c:v>
                </c:pt>
                <c:pt idx="22">
                  <c:v>2</c:v>
                </c:pt>
                <c:pt idx="23">
                  <c:v>4</c:v>
                </c:pt>
                <c:pt idx="24">
                  <c:v>3</c:v>
                </c:pt>
                <c:pt idx="25">
                  <c:v>3</c:v>
                </c:pt>
                <c:pt idx="26">
                  <c:v>3</c:v>
                </c:pt>
                <c:pt idx="27">
                  <c:v>2</c:v>
                </c:pt>
                <c:pt idx="28">
                  <c:v>1</c:v>
                </c:pt>
                <c:pt idx="29">
                  <c:v>2</c:v>
                </c:pt>
                <c:pt idx="30">
                  <c:v>3</c:v>
                </c:pt>
                <c:pt idx="31">
                  <c:v>3</c:v>
                </c:pt>
                <c:pt idx="32">
                  <c:v>2</c:v>
                </c:pt>
                <c:pt idx="33">
                  <c:v>2</c:v>
                </c:pt>
                <c:pt idx="34">
                  <c:v>3</c:v>
                </c:pt>
                <c:pt idx="35">
                  <c:v>4</c:v>
                </c:pt>
                <c:pt idx="36">
                  <c:v>4</c:v>
                </c:pt>
                <c:pt idx="37">
                  <c:v>4</c:v>
                </c:pt>
                <c:pt idx="38">
                  <c:v>5</c:v>
                </c:pt>
                <c:pt idx="39">
                  <c:v>4</c:v>
                </c:pt>
                <c:pt idx="40">
                  <c:v>3</c:v>
                </c:pt>
                <c:pt idx="41">
                  <c:v>2</c:v>
                </c:pt>
                <c:pt idx="42">
                  <c:v>4</c:v>
                </c:pt>
                <c:pt idx="43">
                  <c:v>5</c:v>
                </c:pt>
                <c:pt idx="44">
                  <c:v>7</c:v>
                </c:pt>
                <c:pt idx="45">
                  <c:v>9</c:v>
                </c:pt>
                <c:pt idx="46">
                  <c:v>10</c:v>
                </c:pt>
                <c:pt idx="47">
                  <c:v>12</c:v>
                </c:pt>
                <c:pt idx="48">
                  <c:v>14</c:v>
                </c:pt>
                <c:pt idx="49">
                  <c:v>14</c:v>
                </c:pt>
                <c:pt idx="50">
                  <c:v>14</c:v>
                </c:pt>
                <c:pt idx="51">
                  <c:v>13</c:v>
                </c:pt>
                <c:pt idx="52">
                  <c:v>16</c:v>
                </c:pt>
                <c:pt idx="53">
                  <c:v>12</c:v>
                </c:pt>
                <c:pt idx="54">
                  <c:v>6</c:v>
                </c:pt>
                <c:pt idx="55">
                  <c:v>5</c:v>
                </c:pt>
                <c:pt idx="56">
                  <c:v>5</c:v>
                </c:pt>
                <c:pt idx="57">
                  <c:v>6</c:v>
                </c:pt>
                <c:pt idx="58">
                  <c:v>8</c:v>
                </c:pt>
                <c:pt idx="59">
                  <c:v>7</c:v>
                </c:pt>
                <c:pt idx="60">
                  <c:v>7</c:v>
                </c:pt>
                <c:pt idx="61">
                  <c:v>7</c:v>
                </c:pt>
                <c:pt idx="62">
                  <c:v>7</c:v>
                </c:pt>
                <c:pt idx="63">
                  <c:v>9</c:v>
                </c:pt>
                <c:pt idx="64">
                  <c:v>8</c:v>
                </c:pt>
                <c:pt idx="65">
                  <c:v>9</c:v>
                </c:pt>
                <c:pt idx="66">
                  <c:v>12</c:v>
                </c:pt>
                <c:pt idx="67">
                  <c:v>12</c:v>
                </c:pt>
                <c:pt idx="68">
                  <c:v>13</c:v>
                </c:pt>
                <c:pt idx="69">
                  <c:v>19</c:v>
                </c:pt>
                <c:pt idx="70">
                  <c:v>19</c:v>
                </c:pt>
                <c:pt idx="71">
                  <c:v>18</c:v>
                </c:pt>
                <c:pt idx="72">
                  <c:v>17</c:v>
                </c:pt>
                <c:pt idx="73">
                  <c:v>16</c:v>
                </c:pt>
                <c:pt idx="74">
                  <c:v>15</c:v>
                </c:pt>
                <c:pt idx="75">
                  <c:v>15</c:v>
                </c:pt>
                <c:pt idx="76">
                  <c:v>15</c:v>
                </c:pt>
                <c:pt idx="77">
                  <c:v>14</c:v>
                </c:pt>
                <c:pt idx="78">
                  <c:v>16</c:v>
                </c:pt>
                <c:pt idx="79">
                  <c:v>18</c:v>
                </c:pt>
                <c:pt idx="80">
                  <c:v>20</c:v>
                </c:pt>
                <c:pt idx="81">
                  <c:v>23</c:v>
                </c:pt>
                <c:pt idx="82">
                  <c:v>23</c:v>
                </c:pt>
                <c:pt idx="83">
                  <c:v>21</c:v>
                </c:pt>
                <c:pt idx="84">
                  <c:v>22</c:v>
                </c:pt>
                <c:pt idx="85">
                  <c:v>19</c:v>
                </c:pt>
                <c:pt idx="86">
                  <c:v>18</c:v>
                </c:pt>
                <c:pt idx="87">
                  <c:v>17</c:v>
                </c:pt>
                <c:pt idx="88">
                  <c:v>12</c:v>
                </c:pt>
                <c:pt idx="89">
                  <c:v>12</c:v>
                </c:pt>
                <c:pt idx="90">
                  <c:v>11</c:v>
                </c:pt>
                <c:pt idx="91">
                  <c:v>10</c:v>
                </c:pt>
                <c:pt idx="92">
                  <c:v>11</c:v>
                </c:pt>
                <c:pt idx="93">
                  <c:v>11</c:v>
                </c:pt>
                <c:pt idx="94">
                  <c:v>11</c:v>
                </c:pt>
                <c:pt idx="95">
                  <c:v>11</c:v>
                </c:pt>
                <c:pt idx="96">
                  <c:v>12</c:v>
                </c:pt>
                <c:pt idx="97">
                  <c:v>11</c:v>
                </c:pt>
                <c:pt idx="98">
                  <c:v>8</c:v>
                </c:pt>
                <c:pt idx="99">
                  <c:v>10</c:v>
                </c:pt>
                <c:pt idx="100">
                  <c:v>7</c:v>
                </c:pt>
                <c:pt idx="101">
                  <c:v>8</c:v>
                </c:pt>
                <c:pt idx="102">
                  <c:v>5</c:v>
                </c:pt>
                <c:pt idx="103">
                  <c:v>6</c:v>
                </c:pt>
                <c:pt idx="104">
                  <c:v>8</c:v>
                </c:pt>
                <c:pt idx="105">
                  <c:v>8</c:v>
                </c:pt>
                <c:pt idx="106">
                  <c:v>8</c:v>
                </c:pt>
                <c:pt idx="107">
                  <c:v>8</c:v>
                </c:pt>
                <c:pt idx="108">
                  <c:v>8</c:v>
                </c:pt>
                <c:pt idx="109">
                  <c:v>9</c:v>
                </c:pt>
                <c:pt idx="110">
                  <c:v>10</c:v>
                </c:pt>
                <c:pt idx="111">
                  <c:v>9</c:v>
                </c:pt>
                <c:pt idx="112">
                  <c:v>7</c:v>
                </c:pt>
                <c:pt idx="113">
                  <c:v>9</c:v>
                </c:pt>
                <c:pt idx="114">
                  <c:v>9</c:v>
                </c:pt>
                <c:pt idx="115">
                  <c:v>8</c:v>
                </c:pt>
                <c:pt idx="116">
                  <c:v>10</c:v>
                </c:pt>
                <c:pt idx="117">
                  <c:v>12</c:v>
                </c:pt>
                <c:pt idx="118">
                  <c:v>14</c:v>
                </c:pt>
                <c:pt idx="119">
                  <c:v>15</c:v>
                </c:pt>
                <c:pt idx="120">
                  <c:v>18</c:v>
                </c:pt>
                <c:pt idx="121">
                  <c:v>18</c:v>
                </c:pt>
                <c:pt idx="122">
                  <c:v>15</c:v>
                </c:pt>
                <c:pt idx="123">
                  <c:v>16</c:v>
                </c:pt>
                <c:pt idx="124">
                  <c:v>18</c:v>
                </c:pt>
                <c:pt idx="125">
                  <c:v>20</c:v>
                </c:pt>
                <c:pt idx="126">
                  <c:v>19</c:v>
                </c:pt>
                <c:pt idx="127">
                  <c:v>20</c:v>
                </c:pt>
                <c:pt idx="128">
                  <c:v>22</c:v>
                </c:pt>
                <c:pt idx="129">
                  <c:v>21</c:v>
                </c:pt>
                <c:pt idx="130">
                  <c:v>20</c:v>
                </c:pt>
                <c:pt idx="131">
                  <c:v>20</c:v>
                </c:pt>
                <c:pt idx="132">
                  <c:v>20</c:v>
                </c:pt>
                <c:pt idx="133">
                  <c:v>17</c:v>
                </c:pt>
                <c:pt idx="134">
                  <c:v>13</c:v>
                </c:pt>
                <c:pt idx="135">
                  <c:v>14</c:v>
                </c:pt>
                <c:pt idx="136">
                  <c:v>15</c:v>
                </c:pt>
                <c:pt idx="137">
                  <c:v>16</c:v>
                </c:pt>
                <c:pt idx="138">
                  <c:v>14</c:v>
                </c:pt>
                <c:pt idx="139">
                  <c:v>15</c:v>
                </c:pt>
                <c:pt idx="140">
                  <c:v>15</c:v>
                </c:pt>
                <c:pt idx="141">
                  <c:v>16</c:v>
                </c:pt>
                <c:pt idx="142">
                  <c:v>19</c:v>
                </c:pt>
                <c:pt idx="143">
                  <c:v>17</c:v>
                </c:pt>
                <c:pt idx="144">
                  <c:v>19</c:v>
                </c:pt>
                <c:pt idx="145">
                  <c:v>18</c:v>
                </c:pt>
                <c:pt idx="146">
                  <c:v>17</c:v>
                </c:pt>
                <c:pt idx="147">
                  <c:v>15</c:v>
                </c:pt>
                <c:pt idx="148">
                  <c:v>17</c:v>
                </c:pt>
                <c:pt idx="149">
                  <c:v>16</c:v>
                </c:pt>
                <c:pt idx="150">
                  <c:v>16</c:v>
                </c:pt>
                <c:pt idx="151">
                  <c:v>16</c:v>
                </c:pt>
                <c:pt idx="152">
                  <c:v>17</c:v>
                </c:pt>
                <c:pt idx="153">
                  <c:v>19</c:v>
                </c:pt>
                <c:pt idx="154">
                  <c:v>17</c:v>
                </c:pt>
                <c:pt idx="155">
                  <c:v>16</c:v>
                </c:pt>
                <c:pt idx="156">
                  <c:v>17</c:v>
                </c:pt>
                <c:pt idx="157">
                  <c:v>17</c:v>
                </c:pt>
                <c:pt idx="158">
                  <c:v>17</c:v>
                </c:pt>
                <c:pt idx="159">
                  <c:v>14</c:v>
                </c:pt>
                <c:pt idx="160">
                  <c:v>15</c:v>
                </c:pt>
                <c:pt idx="161">
                  <c:v>12</c:v>
                </c:pt>
                <c:pt idx="162">
                  <c:v>13</c:v>
                </c:pt>
                <c:pt idx="163">
                  <c:v>16</c:v>
                </c:pt>
                <c:pt idx="164">
                  <c:v>15</c:v>
                </c:pt>
                <c:pt idx="165">
                  <c:v>16</c:v>
                </c:pt>
                <c:pt idx="166">
                  <c:v>14</c:v>
                </c:pt>
                <c:pt idx="167">
                  <c:v>16</c:v>
                </c:pt>
                <c:pt idx="168">
                  <c:v>17</c:v>
                </c:pt>
                <c:pt idx="169">
                  <c:v>17</c:v>
                </c:pt>
                <c:pt idx="170">
                  <c:v>18</c:v>
                </c:pt>
                <c:pt idx="171">
                  <c:v>16</c:v>
                </c:pt>
                <c:pt idx="172">
                  <c:v>16</c:v>
                </c:pt>
                <c:pt idx="173">
                  <c:v>17</c:v>
                </c:pt>
                <c:pt idx="174">
                  <c:v>21</c:v>
                </c:pt>
                <c:pt idx="175">
                  <c:v>24</c:v>
                </c:pt>
                <c:pt idx="176">
                  <c:v>25</c:v>
                </c:pt>
                <c:pt idx="177">
                  <c:v>27</c:v>
                </c:pt>
                <c:pt idx="178">
                  <c:v>26</c:v>
                </c:pt>
                <c:pt idx="179">
                  <c:v>24</c:v>
                </c:pt>
                <c:pt idx="180">
                  <c:v>17</c:v>
                </c:pt>
                <c:pt idx="181">
                  <c:v>19</c:v>
                </c:pt>
                <c:pt idx="182">
                  <c:v>17</c:v>
                </c:pt>
                <c:pt idx="183">
                  <c:v>17</c:v>
                </c:pt>
                <c:pt idx="184">
                  <c:v>20</c:v>
                </c:pt>
                <c:pt idx="185">
                  <c:v>22</c:v>
                </c:pt>
                <c:pt idx="186">
                  <c:v>23</c:v>
                </c:pt>
                <c:pt idx="187">
                  <c:v>24</c:v>
                </c:pt>
                <c:pt idx="188">
                  <c:v>32</c:v>
                </c:pt>
                <c:pt idx="189">
                  <c:v>27</c:v>
                </c:pt>
                <c:pt idx="190">
                  <c:v>32</c:v>
                </c:pt>
                <c:pt idx="191">
                  <c:v>35</c:v>
                </c:pt>
                <c:pt idx="192">
                  <c:v>33</c:v>
                </c:pt>
                <c:pt idx="193">
                  <c:v>34</c:v>
                </c:pt>
                <c:pt idx="194">
                  <c:v>32</c:v>
                </c:pt>
                <c:pt idx="195">
                  <c:v>31</c:v>
                </c:pt>
                <c:pt idx="196">
                  <c:v>37</c:v>
                </c:pt>
                <c:pt idx="197">
                  <c:v>36</c:v>
                </c:pt>
                <c:pt idx="198">
                  <c:v>34</c:v>
                </c:pt>
                <c:pt idx="199">
                  <c:v>35</c:v>
                </c:pt>
                <c:pt idx="200">
                  <c:v>29</c:v>
                </c:pt>
                <c:pt idx="201">
                  <c:v>30</c:v>
                </c:pt>
                <c:pt idx="202">
                  <c:v>28</c:v>
                </c:pt>
                <c:pt idx="203">
                  <c:v>26</c:v>
                </c:pt>
                <c:pt idx="204">
                  <c:v>22</c:v>
                </c:pt>
                <c:pt idx="207">
                  <c:v>29</c:v>
                </c:pt>
                <c:pt idx="208">
                  <c:v>27</c:v>
                </c:pt>
                <c:pt idx="209">
                  <c:v>29</c:v>
                </c:pt>
                <c:pt idx="210">
                  <c:v>29</c:v>
                </c:pt>
                <c:pt idx="211">
                  <c:v>26</c:v>
                </c:pt>
                <c:pt idx="212">
                  <c:v>25</c:v>
                </c:pt>
                <c:pt idx="213">
                  <c:v>29</c:v>
                </c:pt>
                <c:pt idx="214">
                  <c:v>29</c:v>
                </c:pt>
                <c:pt idx="215">
                  <c:v>31</c:v>
                </c:pt>
                <c:pt idx="216">
                  <c:v>29</c:v>
                </c:pt>
                <c:pt idx="217">
                  <c:v>26</c:v>
                </c:pt>
                <c:pt idx="218">
                  <c:v>23</c:v>
                </c:pt>
                <c:pt idx="219">
                  <c:v>23</c:v>
                </c:pt>
                <c:pt idx="220">
                  <c:v>24</c:v>
                </c:pt>
                <c:pt idx="221">
                  <c:v>22</c:v>
                </c:pt>
                <c:pt idx="222">
                  <c:v>20</c:v>
                </c:pt>
                <c:pt idx="223">
                  <c:v>21</c:v>
                </c:pt>
                <c:pt idx="224">
                  <c:v>18</c:v>
                </c:pt>
                <c:pt idx="225">
                  <c:v>17</c:v>
                </c:pt>
                <c:pt idx="226">
                  <c:v>18</c:v>
                </c:pt>
                <c:pt idx="227">
                  <c:v>18</c:v>
                </c:pt>
                <c:pt idx="228">
                  <c:v>18</c:v>
                </c:pt>
                <c:pt idx="229">
                  <c:v>19</c:v>
                </c:pt>
                <c:pt idx="230">
                  <c:v>22</c:v>
                </c:pt>
                <c:pt idx="231">
                  <c:v>19</c:v>
                </c:pt>
                <c:pt idx="232">
                  <c:v>21</c:v>
                </c:pt>
                <c:pt idx="233">
                  <c:v>22</c:v>
                </c:pt>
                <c:pt idx="234">
                  <c:v>20</c:v>
                </c:pt>
                <c:pt idx="235">
                  <c:v>18</c:v>
                </c:pt>
                <c:pt idx="236">
                  <c:v>16</c:v>
                </c:pt>
                <c:pt idx="237">
                  <c:v>15</c:v>
                </c:pt>
                <c:pt idx="238">
                  <c:v>18</c:v>
                </c:pt>
                <c:pt idx="239">
                  <c:v>19</c:v>
                </c:pt>
                <c:pt idx="240">
                  <c:v>19</c:v>
                </c:pt>
                <c:pt idx="241">
                  <c:v>18</c:v>
                </c:pt>
                <c:pt idx="242">
                  <c:v>17</c:v>
                </c:pt>
                <c:pt idx="243" formatCode="General">
                  <c:v>18</c:v>
                </c:pt>
                <c:pt idx="244" formatCode="General">
                  <c:v>16</c:v>
                </c:pt>
                <c:pt idx="245" formatCode="General">
                  <c:v>17</c:v>
                </c:pt>
                <c:pt idx="246" formatCode="General">
                  <c:v>18</c:v>
                </c:pt>
                <c:pt idx="247" formatCode="General">
                  <c:v>19</c:v>
                </c:pt>
                <c:pt idx="248" formatCode="General">
                  <c:v>1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E9C-49BB-9C0E-167486560FD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09857200"/>
        <c:axId val="309851712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ECMOVolna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dLbls>
            <c:dLbl>
              <c:idx val="242"/>
              <c:tx>
                <c:rich>
                  <a:bodyPr/>
                  <a:lstStyle/>
                  <a:p>
                    <a:r>
                      <a:rPr lang="en-US" dirty="0"/>
                      <a:t>52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0-BD66-4A3F-B3DF-E765AF4FAB8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rgbClr val="00B050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250</c:f>
              <c:numCache>
                <c:formatCode>m/d/yyyy</c:formatCode>
                <c:ptCount val="249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</c:numCache>
            </c:numRef>
          </c:cat>
          <c:val>
            <c:numRef>
              <c:f>Sheet1!$B$2:$B$250</c:f>
              <c:numCache>
                <c:formatCode>#,##0</c:formatCode>
                <c:ptCount val="249"/>
                <c:pt idx="0">
                  <c:v>69</c:v>
                </c:pt>
                <c:pt idx="1">
                  <c:v>65</c:v>
                </c:pt>
                <c:pt idx="2">
                  <c:v>64</c:v>
                </c:pt>
                <c:pt idx="3">
                  <c:v>64</c:v>
                </c:pt>
                <c:pt idx="4">
                  <c:v>65</c:v>
                </c:pt>
                <c:pt idx="5">
                  <c:v>65</c:v>
                </c:pt>
                <c:pt idx="6">
                  <c:v>65</c:v>
                </c:pt>
                <c:pt idx="7">
                  <c:v>66</c:v>
                </c:pt>
                <c:pt idx="8">
                  <c:v>66</c:v>
                </c:pt>
                <c:pt idx="9">
                  <c:v>64</c:v>
                </c:pt>
                <c:pt idx="10">
                  <c:v>64</c:v>
                </c:pt>
                <c:pt idx="11">
                  <c:v>64</c:v>
                </c:pt>
                <c:pt idx="12">
                  <c:v>66</c:v>
                </c:pt>
                <c:pt idx="13">
                  <c:v>66</c:v>
                </c:pt>
                <c:pt idx="14">
                  <c:v>64</c:v>
                </c:pt>
                <c:pt idx="15">
                  <c:v>66</c:v>
                </c:pt>
                <c:pt idx="16">
                  <c:v>65</c:v>
                </c:pt>
                <c:pt idx="17">
                  <c:v>65</c:v>
                </c:pt>
                <c:pt idx="18">
                  <c:v>67</c:v>
                </c:pt>
                <c:pt idx="19">
                  <c:v>66</c:v>
                </c:pt>
                <c:pt idx="20">
                  <c:v>67</c:v>
                </c:pt>
                <c:pt idx="21">
                  <c:v>65</c:v>
                </c:pt>
                <c:pt idx="22">
                  <c:v>64</c:v>
                </c:pt>
                <c:pt idx="23">
                  <c:v>62</c:v>
                </c:pt>
                <c:pt idx="24">
                  <c:v>61</c:v>
                </c:pt>
                <c:pt idx="25">
                  <c:v>62</c:v>
                </c:pt>
                <c:pt idx="26">
                  <c:v>63</c:v>
                </c:pt>
                <c:pt idx="27">
                  <c:v>64</c:v>
                </c:pt>
                <c:pt idx="28">
                  <c:v>64</c:v>
                </c:pt>
                <c:pt idx="29">
                  <c:v>66</c:v>
                </c:pt>
                <c:pt idx="30">
                  <c:v>65</c:v>
                </c:pt>
                <c:pt idx="31">
                  <c:v>64</c:v>
                </c:pt>
                <c:pt idx="32">
                  <c:v>65</c:v>
                </c:pt>
                <c:pt idx="33">
                  <c:v>66</c:v>
                </c:pt>
                <c:pt idx="34">
                  <c:v>64</c:v>
                </c:pt>
                <c:pt idx="35">
                  <c:v>64</c:v>
                </c:pt>
                <c:pt idx="36">
                  <c:v>61</c:v>
                </c:pt>
                <c:pt idx="37">
                  <c:v>61</c:v>
                </c:pt>
                <c:pt idx="38">
                  <c:v>63</c:v>
                </c:pt>
                <c:pt idx="39">
                  <c:v>61</c:v>
                </c:pt>
                <c:pt idx="40">
                  <c:v>63</c:v>
                </c:pt>
                <c:pt idx="41">
                  <c:v>65</c:v>
                </c:pt>
                <c:pt idx="42">
                  <c:v>64</c:v>
                </c:pt>
                <c:pt idx="43">
                  <c:v>62</c:v>
                </c:pt>
                <c:pt idx="44">
                  <c:v>59</c:v>
                </c:pt>
                <c:pt idx="45">
                  <c:v>57</c:v>
                </c:pt>
                <c:pt idx="46">
                  <c:v>54</c:v>
                </c:pt>
                <c:pt idx="47">
                  <c:v>53</c:v>
                </c:pt>
                <c:pt idx="48">
                  <c:v>51</c:v>
                </c:pt>
                <c:pt idx="49">
                  <c:v>50</c:v>
                </c:pt>
                <c:pt idx="50">
                  <c:v>48</c:v>
                </c:pt>
                <c:pt idx="51">
                  <c:v>54</c:v>
                </c:pt>
                <c:pt idx="52">
                  <c:v>57</c:v>
                </c:pt>
                <c:pt idx="53">
                  <c:v>57</c:v>
                </c:pt>
                <c:pt idx="54">
                  <c:v>61</c:v>
                </c:pt>
                <c:pt idx="55">
                  <c:v>59</c:v>
                </c:pt>
                <c:pt idx="56">
                  <c:v>62</c:v>
                </c:pt>
                <c:pt idx="57">
                  <c:v>64</c:v>
                </c:pt>
                <c:pt idx="58">
                  <c:v>62</c:v>
                </c:pt>
                <c:pt idx="59">
                  <c:v>65</c:v>
                </c:pt>
                <c:pt idx="60">
                  <c:v>57</c:v>
                </c:pt>
                <c:pt idx="61">
                  <c:v>56</c:v>
                </c:pt>
                <c:pt idx="62">
                  <c:v>55</c:v>
                </c:pt>
                <c:pt idx="63">
                  <c:v>55</c:v>
                </c:pt>
                <c:pt idx="64">
                  <c:v>54</c:v>
                </c:pt>
                <c:pt idx="65">
                  <c:v>54</c:v>
                </c:pt>
                <c:pt idx="66">
                  <c:v>56</c:v>
                </c:pt>
                <c:pt idx="67">
                  <c:v>52</c:v>
                </c:pt>
                <c:pt idx="68">
                  <c:v>49</c:v>
                </c:pt>
                <c:pt idx="69">
                  <c:v>47</c:v>
                </c:pt>
                <c:pt idx="70">
                  <c:v>42</c:v>
                </c:pt>
                <c:pt idx="71">
                  <c:v>38</c:v>
                </c:pt>
                <c:pt idx="72">
                  <c:v>41</c:v>
                </c:pt>
                <c:pt idx="73">
                  <c:v>41</c:v>
                </c:pt>
                <c:pt idx="74">
                  <c:v>38</c:v>
                </c:pt>
                <c:pt idx="75">
                  <c:v>38</c:v>
                </c:pt>
                <c:pt idx="76">
                  <c:v>36</c:v>
                </c:pt>
                <c:pt idx="77">
                  <c:v>37</c:v>
                </c:pt>
                <c:pt idx="78">
                  <c:v>39</c:v>
                </c:pt>
                <c:pt idx="79">
                  <c:v>38</c:v>
                </c:pt>
                <c:pt idx="80">
                  <c:v>34</c:v>
                </c:pt>
                <c:pt idx="81">
                  <c:v>32</c:v>
                </c:pt>
                <c:pt idx="82">
                  <c:v>35</c:v>
                </c:pt>
                <c:pt idx="83">
                  <c:v>36</c:v>
                </c:pt>
                <c:pt idx="84">
                  <c:v>36</c:v>
                </c:pt>
                <c:pt idx="85">
                  <c:v>38</c:v>
                </c:pt>
                <c:pt idx="86">
                  <c:v>38</c:v>
                </c:pt>
                <c:pt idx="87">
                  <c:v>38</c:v>
                </c:pt>
                <c:pt idx="88">
                  <c:v>39</c:v>
                </c:pt>
                <c:pt idx="89">
                  <c:v>37</c:v>
                </c:pt>
                <c:pt idx="90">
                  <c:v>38</c:v>
                </c:pt>
                <c:pt idx="91">
                  <c:v>37</c:v>
                </c:pt>
                <c:pt idx="92">
                  <c:v>37</c:v>
                </c:pt>
                <c:pt idx="93">
                  <c:v>40</c:v>
                </c:pt>
                <c:pt idx="94">
                  <c:v>42</c:v>
                </c:pt>
                <c:pt idx="95">
                  <c:v>43</c:v>
                </c:pt>
                <c:pt idx="96">
                  <c:v>43</c:v>
                </c:pt>
                <c:pt idx="97">
                  <c:v>44</c:v>
                </c:pt>
                <c:pt idx="98">
                  <c:v>45</c:v>
                </c:pt>
                <c:pt idx="99">
                  <c:v>48</c:v>
                </c:pt>
                <c:pt idx="100">
                  <c:v>48</c:v>
                </c:pt>
                <c:pt idx="101">
                  <c:v>47</c:v>
                </c:pt>
                <c:pt idx="102">
                  <c:v>46</c:v>
                </c:pt>
                <c:pt idx="103">
                  <c:v>47</c:v>
                </c:pt>
                <c:pt idx="104">
                  <c:v>45</c:v>
                </c:pt>
                <c:pt idx="105">
                  <c:v>44</c:v>
                </c:pt>
                <c:pt idx="106">
                  <c:v>44</c:v>
                </c:pt>
                <c:pt idx="107">
                  <c:v>45</c:v>
                </c:pt>
                <c:pt idx="108">
                  <c:v>48</c:v>
                </c:pt>
                <c:pt idx="109">
                  <c:v>48</c:v>
                </c:pt>
                <c:pt idx="110">
                  <c:v>48</c:v>
                </c:pt>
                <c:pt idx="111">
                  <c:v>48</c:v>
                </c:pt>
                <c:pt idx="112">
                  <c:v>51</c:v>
                </c:pt>
                <c:pt idx="113">
                  <c:v>47</c:v>
                </c:pt>
                <c:pt idx="114">
                  <c:v>47</c:v>
                </c:pt>
                <c:pt idx="115">
                  <c:v>47</c:v>
                </c:pt>
                <c:pt idx="116">
                  <c:v>45</c:v>
                </c:pt>
                <c:pt idx="117">
                  <c:v>45</c:v>
                </c:pt>
                <c:pt idx="118">
                  <c:v>46</c:v>
                </c:pt>
                <c:pt idx="119">
                  <c:v>44</c:v>
                </c:pt>
                <c:pt idx="120">
                  <c:v>48</c:v>
                </c:pt>
                <c:pt idx="121">
                  <c:v>45</c:v>
                </c:pt>
                <c:pt idx="122">
                  <c:v>44</c:v>
                </c:pt>
                <c:pt idx="123">
                  <c:v>41</c:v>
                </c:pt>
                <c:pt idx="124">
                  <c:v>41</c:v>
                </c:pt>
                <c:pt idx="125">
                  <c:v>41</c:v>
                </c:pt>
                <c:pt idx="126">
                  <c:v>40</c:v>
                </c:pt>
                <c:pt idx="127">
                  <c:v>39</c:v>
                </c:pt>
                <c:pt idx="128">
                  <c:v>41</c:v>
                </c:pt>
                <c:pt idx="129">
                  <c:v>43</c:v>
                </c:pt>
                <c:pt idx="130">
                  <c:v>37</c:v>
                </c:pt>
                <c:pt idx="131">
                  <c:v>37</c:v>
                </c:pt>
                <c:pt idx="132">
                  <c:v>39</c:v>
                </c:pt>
                <c:pt idx="133">
                  <c:v>42</c:v>
                </c:pt>
                <c:pt idx="134">
                  <c:v>41</c:v>
                </c:pt>
                <c:pt idx="135">
                  <c:v>37</c:v>
                </c:pt>
                <c:pt idx="136">
                  <c:v>36</c:v>
                </c:pt>
                <c:pt idx="137">
                  <c:v>39</c:v>
                </c:pt>
                <c:pt idx="138">
                  <c:v>37</c:v>
                </c:pt>
                <c:pt idx="139">
                  <c:v>38</c:v>
                </c:pt>
                <c:pt idx="140">
                  <c:v>41</c:v>
                </c:pt>
                <c:pt idx="141">
                  <c:v>39</c:v>
                </c:pt>
                <c:pt idx="142">
                  <c:v>38</c:v>
                </c:pt>
                <c:pt idx="143">
                  <c:v>40</c:v>
                </c:pt>
                <c:pt idx="144">
                  <c:v>39</c:v>
                </c:pt>
                <c:pt idx="145">
                  <c:v>39</c:v>
                </c:pt>
                <c:pt idx="146">
                  <c:v>38</c:v>
                </c:pt>
                <c:pt idx="147">
                  <c:v>36</c:v>
                </c:pt>
                <c:pt idx="148">
                  <c:v>38</c:v>
                </c:pt>
                <c:pt idx="149">
                  <c:v>37</c:v>
                </c:pt>
                <c:pt idx="150">
                  <c:v>36</c:v>
                </c:pt>
                <c:pt idx="151">
                  <c:v>40</c:v>
                </c:pt>
                <c:pt idx="152">
                  <c:v>38</c:v>
                </c:pt>
                <c:pt idx="153">
                  <c:v>38</c:v>
                </c:pt>
                <c:pt idx="154">
                  <c:v>39</c:v>
                </c:pt>
                <c:pt idx="155">
                  <c:v>41</c:v>
                </c:pt>
                <c:pt idx="156">
                  <c:v>40</c:v>
                </c:pt>
                <c:pt idx="157">
                  <c:v>43</c:v>
                </c:pt>
                <c:pt idx="158">
                  <c:v>44</c:v>
                </c:pt>
                <c:pt idx="159">
                  <c:v>44</c:v>
                </c:pt>
                <c:pt idx="160">
                  <c:v>45</c:v>
                </c:pt>
                <c:pt idx="161">
                  <c:v>41</c:v>
                </c:pt>
                <c:pt idx="162">
                  <c:v>41</c:v>
                </c:pt>
                <c:pt idx="163">
                  <c:v>43</c:v>
                </c:pt>
                <c:pt idx="164">
                  <c:v>40</c:v>
                </c:pt>
                <c:pt idx="165">
                  <c:v>40</c:v>
                </c:pt>
                <c:pt idx="166">
                  <c:v>40</c:v>
                </c:pt>
                <c:pt idx="167">
                  <c:v>43</c:v>
                </c:pt>
                <c:pt idx="168">
                  <c:v>41</c:v>
                </c:pt>
                <c:pt idx="169">
                  <c:v>44</c:v>
                </c:pt>
                <c:pt idx="170">
                  <c:v>45</c:v>
                </c:pt>
                <c:pt idx="171">
                  <c:v>44</c:v>
                </c:pt>
                <c:pt idx="172">
                  <c:v>43</c:v>
                </c:pt>
                <c:pt idx="173">
                  <c:v>46</c:v>
                </c:pt>
                <c:pt idx="174">
                  <c:v>42</c:v>
                </c:pt>
                <c:pt idx="175">
                  <c:v>36</c:v>
                </c:pt>
                <c:pt idx="176">
                  <c:v>38</c:v>
                </c:pt>
                <c:pt idx="177">
                  <c:v>35</c:v>
                </c:pt>
                <c:pt idx="178">
                  <c:v>41</c:v>
                </c:pt>
                <c:pt idx="179">
                  <c:v>38</c:v>
                </c:pt>
                <c:pt idx="180">
                  <c:v>40</c:v>
                </c:pt>
                <c:pt idx="181">
                  <c:v>47</c:v>
                </c:pt>
                <c:pt idx="182">
                  <c:v>45</c:v>
                </c:pt>
                <c:pt idx="183">
                  <c:v>41</c:v>
                </c:pt>
                <c:pt idx="184">
                  <c:v>43</c:v>
                </c:pt>
                <c:pt idx="185">
                  <c:v>44</c:v>
                </c:pt>
                <c:pt idx="186">
                  <c:v>42</c:v>
                </c:pt>
                <c:pt idx="187">
                  <c:v>42</c:v>
                </c:pt>
                <c:pt idx="188">
                  <c:v>41</c:v>
                </c:pt>
                <c:pt idx="189">
                  <c:v>41</c:v>
                </c:pt>
                <c:pt idx="190">
                  <c:v>39</c:v>
                </c:pt>
                <c:pt idx="191">
                  <c:v>37</c:v>
                </c:pt>
                <c:pt idx="192">
                  <c:v>36</c:v>
                </c:pt>
                <c:pt idx="193">
                  <c:v>33</c:v>
                </c:pt>
                <c:pt idx="194">
                  <c:v>31</c:v>
                </c:pt>
                <c:pt idx="195">
                  <c:v>31</c:v>
                </c:pt>
                <c:pt idx="196">
                  <c:v>32</c:v>
                </c:pt>
                <c:pt idx="197">
                  <c:v>31</c:v>
                </c:pt>
                <c:pt idx="198">
                  <c:v>26</c:v>
                </c:pt>
                <c:pt idx="199">
                  <c:v>26</c:v>
                </c:pt>
                <c:pt idx="200">
                  <c:v>22</c:v>
                </c:pt>
                <c:pt idx="201">
                  <c:v>22</c:v>
                </c:pt>
                <c:pt idx="202">
                  <c:v>24</c:v>
                </c:pt>
                <c:pt idx="203">
                  <c:v>24</c:v>
                </c:pt>
                <c:pt idx="204">
                  <c:v>24</c:v>
                </c:pt>
                <c:pt idx="207">
                  <c:v>28</c:v>
                </c:pt>
                <c:pt idx="208">
                  <c:v>27</c:v>
                </c:pt>
                <c:pt idx="209">
                  <c:v>28</c:v>
                </c:pt>
                <c:pt idx="210">
                  <c:v>30</c:v>
                </c:pt>
                <c:pt idx="211">
                  <c:v>32</c:v>
                </c:pt>
                <c:pt idx="212">
                  <c:v>32</c:v>
                </c:pt>
                <c:pt idx="213">
                  <c:v>33</c:v>
                </c:pt>
                <c:pt idx="214">
                  <c:v>29</c:v>
                </c:pt>
                <c:pt idx="215">
                  <c:v>29</c:v>
                </c:pt>
                <c:pt idx="216">
                  <c:v>33</c:v>
                </c:pt>
                <c:pt idx="217">
                  <c:v>35</c:v>
                </c:pt>
                <c:pt idx="218">
                  <c:v>38</c:v>
                </c:pt>
                <c:pt idx="219">
                  <c:v>38</c:v>
                </c:pt>
                <c:pt idx="220">
                  <c:v>39</c:v>
                </c:pt>
                <c:pt idx="221">
                  <c:v>38</c:v>
                </c:pt>
                <c:pt idx="222">
                  <c:v>38</c:v>
                </c:pt>
                <c:pt idx="223">
                  <c:v>42</c:v>
                </c:pt>
                <c:pt idx="224">
                  <c:v>44</c:v>
                </c:pt>
                <c:pt idx="225">
                  <c:v>45</c:v>
                </c:pt>
                <c:pt idx="226">
                  <c:v>43</c:v>
                </c:pt>
                <c:pt idx="227">
                  <c:v>43</c:v>
                </c:pt>
                <c:pt idx="228">
                  <c:v>45</c:v>
                </c:pt>
                <c:pt idx="229">
                  <c:v>46</c:v>
                </c:pt>
                <c:pt idx="230">
                  <c:v>42</c:v>
                </c:pt>
                <c:pt idx="231">
                  <c:v>42</c:v>
                </c:pt>
                <c:pt idx="232">
                  <c:v>41</c:v>
                </c:pt>
                <c:pt idx="233">
                  <c:v>40</c:v>
                </c:pt>
                <c:pt idx="234">
                  <c:v>40</c:v>
                </c:pt>
                <c:pt idx="235">
                  <c:v>40</c:v>
                </c:pt>
                <c:pt idx="236">
                  <c:v>42</c:v>
                </c:pt>
                <c:pt idx="237">
                  <c:v>40</c:v>
                </c:pt>
                <c:pt idx="238">
                  <c:v>38</c:v>
                </c:pt>
                <c:pt idx="239">
                  <c:v>40</c:v>
                </c:pt>
                <c:pt idx="240">
                  <c:v>41</c:v>
                </c:pt>
                <c:pt idx="241">
                  <c:v>49</c:v>
                </c:pt>
                <c:pt idx="242">
                  <c:v>50</c:v>
                </c:pt>
                <c:pt idx="243" formatCode="0.00">
                  <c:v>49</c:v>
                </c:pt>
                <c:pt idx="244" formatCode="0.00">
                  <c:v>48</c:v>
                </c:pt>
                <c:pt idx="245" formatCode="0.00">
                  <c:v>51</c:v>
                </c:pt>
                <c:pt idx="246" formatCode="0.00">
                  <c:v>48</c:v>
                </c:pt>
                <c:pt idx="247" formatCode="0.00">
                  <c:v>50</c:v>
                </c:pt>
                <c:pt idx="248" formatCode="0.00">
                  <c:v>5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1E9C-49BB-9C0E-167486560FD4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250</c:f>
              <c:numCache>
                <c:formatCode>m/d/yyyy</c:formatCode>
                <c:ptCount val="249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</c:numCache>
            </c:numRef>
          </c:cat>
          <c:val>
            <c:numRef>
              <c:f>Sheet1!$C$2:$C$250</c:f>
              <c:numCache>
                <c:formatCode>General</c:formatCode>
                <c:ptCount val="249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1E9C-49BB-9C0E-167486560FD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9857200"/>
        <c:axId val="309851712"/>
      </c:lineChart>
      <c:dateAx>
        <c:axId val="309857200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1712"/>
        <c:crosses val="autoZero"/>
        <c:auto val="1"/>
        <c:lblOffset val="100"/>
        <c:baseTimeUnit val="days"/>
      </c:dateAx>
      <c:valAx>
        <c:axId val="309851712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solidFill>
            <a:schemeClr val="bg1"/>
          </a:solidFill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720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8032701769606503E-2"/>
          <c:y val="3.4628599943211873E-2"/>
          <c:w val="0.83577340237216891"/>
          <c:h val="0.73446826296884404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Column2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A$2:$A$250</c:f>
              <c:numCache>
                <c:formatCode>m/d/yyyy</c:formatCode>
                <c:ptCount val="249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</c:numCache>
            </c:numRef>
          </c:cat>
          <c:val>
            <c:numRef>
              <c:f>Sheet1!$D$2:$D$250</c:f>
              <c:numCache>
                <c:formatCode>#,##0</c:formatCode>
                <c:ptCount val="249"/>
                <c:pt idx="0">
                  <c:v>45</c:v>
                </c:pt>
                <c:pt idx="1">
                  <c:v>49</c:v>
                </c:pt>
                <c:pt idx="2">
                  <c:v>46</c:v>
                </c:pt>
                <c:pt idx="3">
                  <c:v>51</c:v>
                </c:pt>
                <c:pt idx="4">
                  <c:v>49</c:v>
                </c:pt>
                <c:pt idx="5">
                  <c:v>52</c:v>
                </c:pt>
                <c:pt idx="6">
                  <c:v>53</c:v>
                </c:pt>
                <c:pt idx="7">
                  <c:v>50</c:v>
                </c:pt>
                <c:pt idx="8">
                  <c:v>55</c:v>
                </c:pt>
                <c:pt idx="9">
                  <c:v>58</c:v>
                </c:pt>
                <c:pt idx="10">
                  <c:v>62</c:v>
                </c:pt>
                <c:pt idx="11">
                  <c:v>57</c:v>
                </c:pt>
                <c:pt idx="12">
                  <c:v>63</c:v>
                </c:pt>
                <c:pt idx="13">
                  <c:v>70</c:v>
                </c:pt>
                <c:pt idx="14">
                  <c:v>70</c:v>
                </c:pt>
                <c:pt idx="15">
                  <c:v>74</c:v>
                </c:pt>
                <c:pt idx="16">
                  <c:v>81</c:v>
                </c:pt>
                <c:pt idx="17">
                  <c:v>98</c:v>
                </c:pt>
                <c:pt idx="18">
                  <c:v>112</c:v>
                </c:pt>
                <c:pt idx="19">
                  <c:v>122</c:v>
                </c:pt>
                <c:pt idx="20">
                  <c:v>144</c:v>
                </c:pt>
                <c:pt idx="21">
                  <c:v>137</c:v>
                </c:pt>
                <c:pt idx="22">
                  <c:v>147</c:v>
                </c:pt>
                <c:pt idx="23">
                  <c:v>157</c:v>
                </c:pt>
                <c:pt idx="24">
                  <c:v>158</c:v>
                </c:pt>
                <c:pt idx="25">
                  <c:v>163</c:v>
                </c:pt>
                <c:pt idx="26">
                  <c:v>178</c:v>
                </c:pt>
                <c:pt idx="27">
                  <c:v>191</c:v>
                </c:pt>
                <c:pt idx="28">
                  <c:v>197</c:v>
                </c:pt>
                <c:pt idx="29">
                  <c:v>195</c:v>
                </c:pt>
                <c:pt idx="30">
                  <c:v>218</c:v>
                </c:pt>
                <c:pt idx="31">
                  <c:v>224</c:v>
                </c:pt>
                <c:pt idx="32">
                  <c:v>253</c:v>
                </c:pt>
                <c:pt idx="33">
                  <c:v>267</c:v>
                </c:pt>
                <c:pt idx="34">
                  <c:v>281</c:v>
                </c:pt>
                <c:pt idx="35">
                  <c:v>315</c:v>
                </c:pt>
                <c:pt idx="36">
                  <c:v>344</c:v>
                </c:pt>
                <c:pt idx="37">
                  <c:v>356</c:v>
                </c:pt>
                <c:pt idx="38">
                  <c:v>388</c:v>
                </c:pt>
                <c:pt idx="39">
                  <c:v>419</c:v>
                </c:pt>
                <c:pt idx="40">
                  <c:v>410</c:v>
                </c:pt>
                <c:pt idx="41">
                  <c:v>435</c:v>
                </c:pt>
                <c:pt idx="42">
                  <c:v>452</c:v>
                </c:pt>
                <c:pt idx="43">
                  <c:v>478</c:v>
                </c:pt>
                <c:pt idx="44">
                  <c:v>514</c:v>
                </c:pt>
                <c:pt idx="45">
                  <c:v>554</c:v>
                </c:pt>
                <c:pt idx="46">
                  <c:v>571</c:v>
                </c:pt>
                <c:pt idx="47">
                  <c:v>596</c:v>
                </c:pt>
                <c:pt idx="48">
                  <c:v>620</c:v>
                </c:pt>
                <c:pt idx="49">
                  <c:v>640</c:v>
                </c:pt>
                <c:pt idx="50">
                  <c:v>702</c:v>
                </c:pt>
                <c:pt idx="51">
                  <c:v>749</c:v>
                </c:pt>
                <c:pt idx="52">
                  <c:v>760</c:v>
                </c:pt>
                <c:pt idx="53">
                  <c:v>758</c:v>
                </c:pt>
                <c:pt idx="54">
                  <c:v>800</c:v>
                </c:pt>
                <c:pt idx="55">
                  <c:v>882</c:v>
                </c:pt>
                <c:pt idx="56">
                  <c:v>874</c:v>
                </c:pt>
                <c:pt idx="57">
                  <c:v>887</c:v>
                </c:pt>
                <c:pt idx="58">
                  <c:v>993</c:v>
                </c:pt>
                <c:pt idx="59">
                  <c:v>1028</c:v>
                </c:pt>
                <c:pt idx="60">
                  <c:v>1067</c:v>
                </c:pt>
                <c:pt idx="61">
                  <c:v>1115</c:v>
                </c:pt>
                <c:pt idx="62">
                  <c:v>1151</c:v>
                </c:pt>
                <c:pt idx="63">
                  <c:v>1176</c:v>
                </c:pt>
                <c:pt idx="64">
                  <c:v>1163</c:v>
                </c:pt>
                <c:pt idx="65">
                  <c:v>1173</c:v>
                </c:pt>
                <c:pt idx="66">
                  <c:v>1210</c:v>
                </c:pt>
                <c:pt idx="67">
                  <c:v>1155</c:v>
                </c:pt>
                <c:pt idx="68">
                  <c:v>1166</c:v>
                </c:pt>
                <c:pt idx="69">
                  <c:v>1180</c:v>
                </c:pt>
                <c:pt idx="70">
                  <c:v>1167</c:v>
                </c:pt>
                <c:pt idx="71">
                  <c:v>1108</c:v>
                </c:pt>
                <c:pt idx="72">
                  <c:v>1104</c:v>
                </c:pt>
                <c:pt idx="73">
                  <c:v>1100</c:v>
                </c:pt>
                <c:pt idx="74">
                  <c:v>1068</c:v>
                </c:pt>
                <c:pt idx="75">
                  <c:v>1043</c:v>
                </c:pt>
                <c:pt idx="76">
                  <c:v>1037</c:v>
                </c:pt>
                <c:pt idx="77">
                  <c:v>993</c:v>
                </c:pt>
                <c:pt idx="78">
                  <c:v>1003</c:v>
                </c:pt>
                <c:pt idx="79">
                  <c:v>972</c:v>
                </c:pt>
                <c:pt idx="80">
                  <c:v>958</c:v>
                </c:pt>
                <c:pt idx="81">
                  <c:v>943</c:v>
                </c:pt>
                <c:pt idx="82">
                  <c:v>958</c:v>
                </c:pt>
                <c:pt idx="83">
                  <c:v>948</c:v>
                </c:pt>
                <c:pt idx="84">
                  <c:v>877</c:v>
                </c:pt>
                <c:pt idx="85">
                  <c:v>853</c:v>
                </c:pt>
                <c:pt idx="86">
                  <c:v>840</c:v>
                </c:pt>
                <c:pt idx="87">
                  <c:v>795</c:v>
                </c:pt>
                <c:pt idx="88">
                  <c:v>776</c:v>
                </c:pt>
                <c:pt idx="89">
                  <c:v>761</c:v>
                </c:pt>
                <c:pt idx="90">
                  <c:v>786</c:v>
                </c:pt>
                <c:pt idx="91">
                  <c:v>728</c:v>
                </c:pt>
                <c:pt idx="92">
                  <c:v>712</c:v>
                </c:pt>
                <c:pt idx="93">
                  <c:v>714</c:v>
                </c:pt>
                <c:pt idx="94">
                  <c:v>710</c:v>
                </c:pt>
                <c:pt idx="95">
                  <c:v>685</c:v>
                </c:pt>
                <c:pt idx="96">
                  <c:v>672</c:v>
                </c:pt>
                <c:pt idx="97">
                  <c:v>710</c:v>
                </c:pt>
                <c:pt idx="98">
                  <c:v>698</c:v>
                </c:pt>
                <c:pt idx="99">
                  <c:v>684</c:v>
                </c:pt>
                <c:pt idx="100">
                  <c:v>709</c:v>
                </c:pt>
                <c:pt idx="101">
                  <c:v>697</c:v>
                </c:pt>
                <c:pt idx="102">
                  <c:v>693</c:v>
                </c:pt>
                <c:pt idx="103">
                  <c:v>707</c:v>
                </c:pt>
                <c:pt idx="104">
                  <c:v>725</c:v>
                </c:pt>
                <c:pt idx="105">
                  <c:v>722</c:v>
                </c:pt>
                <c:pt idx="106">
                  <c:v>734</c:v>
                </c:pt>
                <c:pt idx="107">
                  <c:v>723</c:v>
                </c:pt>
                <c:pt idx="108">
                  <c:v>726</c:v>
                </c:pt>
                <c:pt idx="109">
                  <c:v>743</c:v>
                </c:pt>
                <c:pt idx="110">
                  <c:v>752</c:v>
                </c:pt>
                <c:pt idx="111">
                  <c:v>762</c:v>
                </c:pt>
                <c:pt idx="112">
                  <c:v>767</c:v>
                </c:pt>
                <c:pt idx="113">
                  <c:v>777</c:v>
                </c:pt>
                <c:pt idx="114">
                  <c:v>746</c:v>
                </c:pt>
                <c:pt idx="115">
                  <c:v>767</c:v>
                </c:pt>
                <c:pt idx="116">
                  <c:v>805</c:v>
                </c:pt>
                <c:pt idx="117">
                  <c:v>845</c:v>
                </c:pt>
                <c:pt idx="118">
                  <c:v>905</c:v>
                </c:pt>
                <c:pt idx="119">
                  <c:v>939</c:v>
                </c:pt>
                <c:pt idx="120">
                  <c:v>955</c:v>
                </c:pt>
                <c:pt idx="121">
                  <c:v>971</c:v>
                </c:pt>
                <c:pt idx="122">
                  <c:v>948</c:v>
                </c:pt>
                <c:pt idx="123">
                  <c:v>958</c:v>
                </c:pt>
                <c:pt idx="124">
                  <c:v>1004</c:v>
                </c:pt>
                <c:pt idx="125">
                  <c:v>1090</c:v>
                </c:pt>
                <c:pt idx="126">
                  <c:v>1111</c:v>
                </c:pt>
                <c:pt idx="127">
                  <c:v>1149</c:v>
                </c:pt>
                <c:pt idx="128">
                  <c:v>1148</c:v>
                </c:pt>
                <c:pt idx="129">
                  <c:v>1141</c:v>
                </c:pt>
                <c:pt idx="130">
                  <c:v>1148</c:v>
                </c:pt>
                <c:pt idx="131">
                  <c:v>1175</c:v>
                </c:pt>
                <c:pt idx="132">
                  <c:v>1187</c:v>
                </c:pt>
                <c:pt idx="133">
                  <c:v>1173</c:v>
                </c:pt>
                <c:pt idx="134">
                  <c:v>1169</c:v>
                </c:pt>
                <c:pt idx="135">
                  <c:v>1178</c:v>
                </c:pt>
                <c:pt idx="136">
                  <c:v>1168</c:v>
                </c:pt>
                <c:pt idx="137">
                  <c:v>1157</c:v>
                </c:pt>
                <c:pt idx="138">
                  <c:v>1128</c:v>
                </c:pt>
                <c:pt idx="139">
                  <c:v>1153</c:v>
                </c:pt>
                <c:pt idx="140">
                  <c:v>1134</c:v>
                </c:pt>
                <c:pt idx="141">
                  <c:v>1110</c:v>
                </c:pt>
                <c:pt idx="142">
                  <c:v>1104</c:v>
                </c:pt>
                <c:pt idx="143">
                  <c:v>1108</c:v>
                </c:pt>
                <c:pt idx="144">
                  <c:v>1090</c:v>
                </c:pt>
                <c:pt idx="145">
                  <c:v>1056</c:v>
                </c:pt>
                <c:pt idx="146">
                  <c:v>1078</c:v>
                </c:pt>
                <c:pt idx="147">
                  <c:v>1045</c:v>
                </c:pt>
                <c:pt idx="148">
                  <c:v>1036</c:v>
                </c:pt>
                <c:pt idx="149">
                  <c:v>1017</c:v>
                </c:pt>
                <c:pt idx="150">
                  <c:v>1017</c:v>
                </c:pt>
                <c:pt idx="151">
                  <c:v>1021</c:v>
                </c:pt>
                <c:pt idx="152">
                  <c:v>1039</c:v>
                </c:pt>
                <c:pt idx="153">
                  <c:v>1078</c:v>
                </c:pt>
                <c:pt idx="154">
                  <c:v>1089</c:v>
                </c:pt>
                <c:pt idx="155">
                  <c:v>1076</c:v>
                </c:pt>
                <c:pt idx="156">
                  <c:v>1102</c:v>
                </c:pt>
                <c:pt idx="157">
                  <c:v>1088</c:v>
                </c:pt>
                <c:pt idx="158">
                  <c:v>1072</c:v>
                </c:pt>
                <c:pt idx="159">
                  <c:v>1099</c:v>
                </c:pt>
                <c:pt idx="160">
                  <c:v>1108</c:v>
                </c:pt>
                <c:pt idx="161">
                  <c:v>1093</c:v>
                </c:pt>
                <c:pt idx="162">
                  <c:v>1108</c:v>
                </c:pt>
                <c:pt idx="163">
                  <c:v>1114</c:v>
                </c:pt>
                <c:pt idx="164">
                  <c:v>1110</c:v>
                </c:pt>
                <c:pt idx="165">
                  <c:v>1104</c:v>
                </c:pt>
                <c:pt idx="166">
                  <c:v>1145</c:v>
                </c:pt>
                <c:pt idx="167">
                  <c:v>1169</c:v>
                </c:pt>
                <c:pt idx="168">
                  <c:v>1212</c:v>
                </c:pt>
                <c:pt idx="169">
                  <c:v>1240</c:v>
                </c:pt>
                <c:pt idx="170">
                  <c:v>1265</c:v>
                </c:pt>
                <c:pt idx="171">
                  <c:v>1269</c:v>
                </c:pt>
                <c:pt idx="172">
                  <c:v>1267</c:v>
                </c:pt>
                <c:pt idx="173">
                  <c:v>1280</c:v>
                </c:pt>
                <c:pt idx="174">
                  <c:v>1360</c:v>
                </c:pt>
                <c:pt idx="175">
                  <c:v>1389</c:v>
                </c:pt>
                <c:pt idx="176">
                  <c:v>1408</c:v>
                </c:pt>
                <c:pt idx="177">
                  <c:v>1463</c:v>
                </c:pt>
                <c:pt idx="178">
                  <c:v>1439</c:v>
                </c:pt>
                <c:pt idx="179">
                  <c:v>1466</c:v>
                </c:pt>
                <c:pt idx="180">
                  <c:v>1503</c:v>
                </c:pt>
                <c:pt idx="181">
                  <c:v>1586</c:v>
                </c:pt>
                <c:pt idx="182">
                  <c:v>1598</c:v>
                </c:pt>
                <c:pt idx="183">
                  <c:v>1625</c:v>
                </c:pt>
                <c:pt idx="184">
                  <c:v>1651</c:v>
                </c:pt>
                <c:pt idx="185">
                  <c:v>1671</c:v>
                </c:pt>
                <c:pt idx="186">
                  <c:v>1675</c:v>
                </c:pt>
                <c:pt idx="187">
                  <c:v>1677</c:v>
                </c:pt>
                <c:pt idx="188">
                  <c:v>1773</c:v>
                </c:pt>
                <c:pt idx="189">
                  <c:v>1802</c:v>
                </c:pt>
                <c:pt idx="190">
                  <c:v>1831</c:v>
                </c:pt>
                <c:pt idx="191">
                  <c:v>1821</c:v>
                </c:pt>
                <c:pt idx="192">
                  <c:v>1833</c:v>
                </c:pt>
                <c:pt idx="193">
                  <c:v>1782</c:v>
                </c:pt>
                <c:pt idx="194">
                  <c:v>1829</c:v>
                </c:pt>
                <c:pt idx="195">
                  <c:v>1886</c:v>
                </c:pt>
                <c:pt idx="196">
                  <c:v>1893</c:v>
                </c:pt>
                <c:pt idx="197">
                  <c:v>1861</c:v>
                </c:pt>
                <c:pt idx="198">
                  <c:v>1859</c:v>
                </c:pt>
                <c:pt idx="199">
                  <c:v>1818</c:v>
                </c:pt>
                <c:pt idx="200">
                  <c:v>1778</c:v>
                </c:pt>
                <c:pt idx="201">
                  <c:v>1802</c:v>
                </c:pt>
                <c:pt idx="202">
                  <c:v>1822</c:v>
                </c:pt>
                <c:pt idx="203">
                  <c:v>1775</c:v>
                </c:pt>
                <c:pt idx="204">
                  <c:v>1743</c:v>
                </c:pt>
                <c:pt idx="207">
                  <c:v>1643</c:v>
                </c:pt>
                <c:pt idx="208">
                  <c:v>1652</c:v>
                </c:pt>
                <c:pt idx="209">
                  <c:v>1662</c:v>
                </c:pt>
                <c:pt idx="210">
                  <c:v>1612</c:v>
                </c:pt>
                <c:pt idx="211">
                  <c:v>1553</c:v>
                </c:pt>
                <c:pt idx="212">
                  <c:v>1505</c:v>
                </c:pt>
                <c:pt idx="213">
                  <c:v>1424</c:v>
                </c:pt>
                <c:pt idx="214">
                  <c:v>1399</c:v>
                </c:pt>
                <c:pt idx="215">
                  <c:v>1379</c:v>
                </c:pt>
                <c:pt idx="216">
                  <c:v>1345</c:v>
                </c:pt>
                <c:pt idx="217">
                  <c:v>1395</c:v>
                </c:pt>
                <c:pt idx="218">
                  <c:v>1363</c:v>
                </c:pt>
                <c:pt idx="219">
                  <c:v>1314</c:v>
                </c:pt>
                <c:pt idx="220">
                  <c:v>1236</c:v>
                </c:pt>
                <c:pt idx="221">
                  <c:v>1220</c:v>
                </c:pt>
                <c:pt idx="222">
                  <c:v>1203</c:v>
                </c:pt>
                <c:pt idx="223">
                  <c:v>1189</c:v>
                </c:pt>
                <c:pt idx="224">
                  <c:v>1160</c:v>
                </c:pt>
                <c:pt idx="225">
                  <c:v>1116</c:v>
                </c:pt>
                <c:pt idx="226">
                  <c:v>1037</c:v>
                </c:pt>
                <c:pt idx="227">
                  <c:v>1016</c:v>
                </c:pt>
                <c:pt idx="228">
                  <c:v>976</c:v>
                </c:pt>
                <c:pt idx="229">
                  <c:v>978</c:v>
                </c:pt>
                <c:pt idx="230">
                  <c:v>997</c:v>
                </c:pt>
                <c:pt idx="231">
                  <c:v>946</c:v>
                </c:pt>
                <c:pt idx="232">
                  <c:v>912</c:v>
                </c:pt>
                <c:pt idx="233">
                  <c:v>837</c:v>
                </c:pt>
                <c:pt idx="234">
                  <c:v>790</c:v>
                </c:pt>
                <c:pt idx="235">
                  <c:v>754</c:v>
                </c:pt>
                <c:pt idx="236">
                  <c:v>764</c:v>
                </c:pt>
                <c:pt idx="237">
                  <c:v>742</c:v>
                </c:pt>
                <c:pt idx="238">
                  <c:v>716</c:v>
                </c:pt>
                <c:pt idx="239">
                  <c:v>691</c:v>
                </c:pt>
                <c:pt idx="240">
                  <c:v>640</c:v>
                </c:pt>
                <c:pt idx="241">
                  <c:v>581</c:v>
                </c:pt>
                <c:pt idx="242">
                  <c:v>560</c:v>
                </c:pt>
                <c:pt idx="243" formatCode="General">
                  <c:v>566</c:v>
                </c:pt>
                <c:pt idx="244" formatCode="General">
                  <c:v>572</c:v>
                </c:pt>
                <c:pt idx="245" formatCode="General">
                  <c:v>548</c:v>
                </c:pt>
                <c:pt idx="246" formatCode="General">
                  <c:v>497</c:v>
                </c:pt>
                <c:pt idx="247" formatCode="General">
                  <c:v>468</c:v>
                </c:pt>
                <c:pt idx="248" formatCode="General">
                  <c:v>44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617-4C75-8083-4C309D7E9AB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09856808"/>
        <c:axId val="309852496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ROJIPLuzekDOSTUP</c:v>
                </c:pt>
              </c:strCache>
            </c:strRef>
          </c:tx>
          <c:spPr>
            <a:ln w="28575" cap="rnd">
              <a:solidFill>
                <a:srgbClr val="FF0000"/>
              </a:solidFill>
              <a:round/>
            </a:ln>
            <a:effectLst/>
          </c:spPr>
          <c:marker>
            <c:symbol val="none"/>
          </c:marker>
          <c:dLbls>
            <c:dLbl>
              <c:idx val="186"/>
              <c:delete val="1"/>
              <c:extLst>
                <c:ext xmlns:c15="http://schemas.microsoft.com/office/drawing/2012/chart" uri="{CE6537A1-D6FC-4f65-9D91-7224C49458BB}">
                  <c15:layout>
                    <c:manualLayout>
                      <c:w val="4.7626510820864477E-2"/>
                      <c:h val="7.9078959092664172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0-4835-4E6D-B4DA-45D31FA05971}"/>
                </c:ext>
              </c:extLst>
            </c:dLbl>
            <c:dLbl>
              <c:idx val="207"/>
              <c:delete val="1"/>
              <c:extLst>
                <c:ext xmlns:c15="http://schemas.microsoft.com/office/drawing/2012/chart" uri="{CE6537A1-D6FC-4f65-9D91-7224C49458BB}">
                  <c15:layout>
                    <c:manualLayout>
                      <c:w val="7.340058756094224E-2"/>
                      <c:h val="9.2550672737070336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4835-4E6D-B4DA-45D31FA05971}"/>
                </c:ext>
              </c:extLst>
            </c:dLbl>
            <c:dLbl>
              <c:idx val="242"/>
              <c:tx>
                <c:rich>
                  <a:bodyPr/>
                  <a:lstStyle/>
                  <a:p>
                    <a:r>
                      <a:rPr lang="en-US" dirty="0"/>
                      <a:t>1 593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2-4835-4E6D-B4DA-45D31FA0597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rgbClr val="FF0000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250</c:f>
              <c:numCache>
                <c:formatCode>m/d/yyyy</c:formatCode>
                <c:ptCount val="249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</c:numCache>
            </c:numRef>
          </c:cat>
          <c:val>
            <c:numRef>
              <c:f>Sheet1!$B$2:$B$250</c:f>
              <c:numCache>
                <c:formatCode>#,##0</c:formatCode>
                <c:ptCount val="249"/>
                <c:pt idx="0">
                  <c:v>1163</c:v>
                </c:pt>
                <c:pt idx="1">
                  <c:v>1128</c:v>
                </c:pt>
                <c:pt idx="2">
                  <c:v>1112</c:v>
                </c:pt>
                <c:pt idx="3">
                  <c:v>1152</c:v>
                </c:pt>
                <c:pt idx="4">
                  <c:v>1170</c:v>
                </c:pt>
                <c:pt idx="5">
                  <c:v>1192</c:v>
                </c:pt>
                <c:pt idx="6">
                  <c:v>1174</c:v>
                </c:pt>
                <c:pt idx="7">
                  <c:v>1148</c:v>
                </c:pt>
                <c:pt idx="8">
                  <c:v>1107</c:v>
                </c:pt>
                <c:pt idx="9">
                  <c:v>1070</c:v>
                </c:pt>
                <c:pt idx="10">
                  <c:v>1034</c:v>
                </c:pt>
                <c:pt idx="11">
                  <c:v>1056</c:v>
                </c:pt>
                <c:pt idx="12">
                  <c:v>1094</c:v>
                </c:pt>
                <c:pt idx="13">
                  <c:v>1039</c:v>
                </c:pt>
                <c:pt idx="14">
                  <c:v>1000</c:v>
                </c:pt>
                <c:pt idx="15">
                  <c:v>1011</c:v>
                </c:pt>
                <c:pt idx="16">
                  <c:v>959</c:v>
                </c:pt>
                <c:pt idx="17">
                  <c:v>967</c:v>
                </c:pt>
                <c:pt idx="18">
                  <c:v>1002</c:v>
                </c:pt>
                <c:pt idx="19">
                  <c:v>1016</c:v>
                </c:pt>
                <c:pt idx="20">
                  <c:v>986</c:v>
                </c:pt>
                <c:pt idx="21">
                  <c:v>890</c:v>
                </c:pt>
                <c:pt idx="22">
                  <c:v>887</c:v>
                </c:pt>
                <c:pt idx="23">
                  <c:v>863</c:v>
                </c:pt>
                <c:pt idx="24">
                  <c:v>921</c:v>
                </c:pt>
                <c:pt idx="25">
                  <c:v>1001</c:v>
                </c:pt>
                <c:pt idx="26">
                  <c:v>1035</c:v>
                </c:pt>
                <c:pt idx="27">
                  <c:v>1044</c:v>
                </c:pt>
                <c:pt idx="28">
                  <c:v>1002</c:v>
                </c:pt>
                <c:pt idx="29">
                  <c:v>944</c:v>
                </c:pt>
                <c:pt idx="30">
                  <c:v>933</c:v>
                </c:pt>
                <c:pt idx="31">
                  <c:v>950</c:v>
                </c:pt>
                <c:pt idx="32">
                  <c:v>962</c:v>
                </c:pt>
                <c:pt idx="33">
                  <c:v>976</c:v>
                </c:pt>
                <c:pt idx="34">
                  <c:v>959</c:v>
                </c:pt>
                <c:pt idx="35">
                  <c:v>905</c:v>
                </c:pt>
                <c:pt idx="36">
                  <c:v>890</c:v>
                </c:pt>
                <c:pt idx="37">
                  <c:v>924</c:v>
                </c:pt>
                <c:pt idx="38">
                  <c:v>942</c:v>
                </c:pt>
                <c:pt idx="39">
                  <c:v>983</c:v>
                </c:pt>
                <c:pt idx="40">
                  <c:v>1018</c:v>
                </c:pt>
                <c:pt idx="41">
                  <c:v>958</c:v>
                </c:pt>
                <c:pt idx="42">
                  <c:v>936</c:v>
                </c:pt>
                <c:pt idx="43">
                  <c:v>977</c:v>
                </c:pt>
                <c:pt idx="44">
                  <c:v>897</c:v>
                </c:pt>
                <c:pt idx="45">
                  <c:v>983</c:v>
                </c:pt>
                <c:pt idx="46">
                  <c:v>1007</c:v>
                </c:pt>
                <c:pt idx="47">
                  <c:v>976</c:v>
                </c:pt>
                <c:pt idx="48">
                  <c:v>963</c:v>
                </c:pt>
                <c:pt idx="49">
                  <c:v>1013</c:v>
                </c:pt>
                <c:pt idx="50">
                  <c:v>1011</c:v>
                </c:pt>
                <c:pt idx="51">
                  <c:v>995</c:v>
                </c:pt>
                <c:pt idx="52">
                  <c:v>1029</c:v>
                </c:pt>
                <c:pt idx="53">
                  <c:v>1081</c:v>
                </c:pt>
                <c:pt idx="54">
                  <c:v>1076</c:v>
                </c:pt>
                <c:pt idx="55">
                  <c:v>1101</c:v>
                </c:pt>
                <c:pt idx="56">
                  <c:v>1085</c:v>
                </c:pt>
                <c:pt idx="57">
                  <c:v>1088</c:v>
                </c:pt>
                <c:pt idx="58">
                  <c:v>1125</c:v>
                </c:pt>
                <c:pt idx="59">
                  <c:v>1106</c:v>
                </c:pt>
                <c:pt idx="60">
                  <c:v>1081</c:v>
                </c:pt>
                <c:pt idx="61">
                  <c:v>1069</c:v>
                </c:pt>
                <c:pt idx="62">
                  <c:v>1101</c:v>
                </c:pt>
                <c:pt idx="63">
                  <c:v>1047</c:v>
                </c:pt>
                <c:pt idx="64">
                  <c:v>1025</c:v>
                </c:pt>
                <c:pt idx="65">
                  <c:v>1039</c:v>
                </c:pt>
                <c:pt idx="66">
                  <c:v>994</c:v>
                </c:pt>
                <c:pt idx="67">
                  <c:v>1025</c:v>
                </c:pt>
                <c:pt idx="68">
                  <c:v>1018</c:v>
                </c:pt>
                <c:pt idx="69">
                  <c:v>1061</c:v>
                </c:pt>
                <c:pt idx="70">
                  <c:v>1021</c:v>
                </c:pt>
                <c:pt idx="71">
                  <c:v>948</c:v>
                </c:pt>
                <c:pt idx="72">
                  <c:v>937</c:v>
                </c:pt>
                <c:pt idx="73">
                  <c:v>929</c:v>
                </c:pt>
                <c:pt idx="74">
                  <c:v>923</c:v>
                </c:pt>
                <c:pt idx="75">
                  <c:v>937</c:v>
                </c:pt>
                <c:pt idx="76">
                  <c:v>932</c:v>
                </c:pt>
                <c:pt idx="77">
                  <c:v>956</c:v>
                </c:pt>
                <c:pt idx="78">
                  <c:v>971</c:v>
                </c:pt>
                <c:pt idx="79">
                  <c:v>903</c:v>
                </c:pt>
                <c:pt idx="80">
                  <c:v>900</c:v>
                </c:pt>
                <c:pt idx="81">
                  <c:v>949</c:v>
                </c:pt>
                <c:pt idx="82">
                  <c:v>971</c:v>
                </c:pt>
                <c:pt idx="83">
                  <c:v>927</c:v>
                </c:pt>
                <c:pt idx="84">
                  <c:v>936</c:v>
                </c:pt>
                <c:pt idx="85">
                  <c:v>967</c:v>
                </c:pt>
                <c:pt idx="86">
                  <c:v>917</c:v>
                </c:pt>
                <c:pt idx="87">
                  <c:v>904</c:v>
                </c:pt>
                <c:pt idx="88">
                  <c:v>963</c:v>
                </c:pt>
                <c:pt idx="89">
                  <c:v>1007</c:v>
                </c:pt>
                <c:pt idx="90">
                  <c:v>952</c:v>
                </c:pt>
                <c:pt idx="91">
                  <c:v>949</c:v>
                </c:pt>
                <c:pt idx="92">
                  <c:v>947</c:v>
                </c:pt>
                <c:pt idx="93">
                  <c:v>891</c:v>
                </c:pt>
                <c:pt idx="94">
                  <c:v>884</c:v>
                </c:pt>
                <c:pt idx="95">
                  <c:v>888</c:v>
                </c:pt>
                <c:pt idx="96">
                  <c:v>919</c:v>
                </c:pt>
                <c:pt idx="97">
                  <c:v>931</c:v>
                </c:pt>
                <c:pt idx="98">
                  <c:v>884</c:v>
                </c:pt>
                <c:pt idx="99">
                  <c:v>863</c:v>
                </c:pt>
                <c:pt idx="100">
                  <c:v>832</c:v>
                </c:pt>
                <c:pt idx="101">
                  <c:v>870</c:v>
                </c:pt>
                <c:pt idx="102">
                  <c:v>935</c:v>
                </c:pt>
                <c:pt idx="103">
                  <c:v>917</c:v>
                </c:pt>
                <c:pt idx="104">
                  <c:v>895</c:v>
                </c:pt>
                <c:pt idx="105">
                  <c:v>881</c:v>
                </c:pt>
                <c:pt idx="106">
                  <c:v>871</c:v>
                </c:pt>
                <c:pt idx="107">
                  <c:v>866</c:v>
                </c:pt>
                <c:pt idx="108">
                  <c:v>910</c:v>
                </c:pt>
                <c:pt idx="109">
                  <c:v>914</c:v>
                </c:pt>
                <c:pt idx="110">
                  <c:v>948</c:v>
                </c:pt>
                <c:pt idx="111">
                  <c:v>952</c:v>
                </c:pt>
                <c:pt idx="112">
                  <c:v>983</c:v>
                </c:pt>
                <c:pt idx="113">
                  <c:v>984</c:v>
                </c:pt>
                <c:pt idx="114">
                  <c:v>1056</c:v>
                </c:pt>
                <c:pt idx="115">
                  <c:v>1073</c:v>
                </c:pt>
                <c:pt idx="116">
                  <c:v>1060</c:v>
                </c:pt>
                <c:pt idx="117">
                  <c:v>1030</c:v>
                </c:pt>
                <c:pt idx="118">
                  <c:v>1017</c:v>
                </c:pt>
                <c:pt idx="119">
                  <c:v>961</c:v>
                </c:pt>
                <c:pt idx="120">
                  <c:v>966</c:v>
                </c:pt>
                <c:pt idx="121">
                  <c:v>936</c:v>
                </c:pt>
                <c:pt idx="122">
                  <c:v>951</c:v>
                </c:pt>
                <c:pt idx="123">
                  <c:v>945</c:v>
                </c:pt>
                <c:pt idx="124">
                  <c:v>874</c:v>
                </c:pt>
                <c:pt idx="125">
                  <c:v>831</c:v>
                </c:pt>
                <c:pt idx="126">
                  <c:v>771</c:v>
                </c:pt>
                <c:pt idx="127">
                  <c:v>749</c:v>
                </c:pt>
                <c:pt idx="128">
                  <c:v>742</c:v>
                </c:pt>
                <c:pt idx="129">
                  <c:v>765</c:v>
                </c:pt>
                <c:pt idx="130">
                  <c:v>777</c:v>
                </c:pt>
                <c:pt idx="131">
                  <c:v>804</c:v>
                </c:pt>
                <c:pt idx="132">
                  <c:v>771</c:v>
                </c:pt>
                <c:pt idx="133">
                  <c:v>735</c:v>
                </c:pt>
                <c:pt idx="134">
                  <c:v>740</c:v>
                </c:pt>
                <c:pt idx="135">
                  <c:v>731</c:v>
                </c:pt>
                <c:pt idx="136">
                  <c:v>736</c:v>
                </c:pt>
                <c:pt idx="137">
                  <c:v>769</c:v>
                </c:pt>
                <c:pt idx="138">
                  <c:v>758</c:v>
                </c:pt>
                <c:pt idx="139">
                  <c:v>762</c:v>
                </c:pt>
                <c:pt idx="140">
                  <c:v>756</c:v>
                </c:pt>
                <c:pt idx="141">
                  <c:v>766</c:v>
                </c:pt>
                <c:pt idx="142">
                  <c:v>748</c:v>
                </c:pt>
                <c:pt idx="143">
                  <c:v>759</c:v>
                </c:pt>
                <c:pt idx="144">
                  <c:v>790</c:v>
                </c:pt>
                <c:pt idx="145">
                  <c:v>777</c:v>
                </c:pt>
                <c:pt idx="146">
                  <c:v>757</c:v>
                </c:pt>
                <c:pt idx="147">
                  <c:v>753</c:v>
                </c:pt>
                <c:pt idx="148">
                  <c:v>742</c:v>
                </c:pt>
                <c:pt idx="149">
                  <c:v>755</c:v>
                </c:pt>
                <c:pt idx="150">
                  <c:v>770</c:v>
                </c:pt>
                <c:pt idx="151">
                  <c:v>806</c:v>
                </c:pt>
                <c:pt idx="152">
                  <c:v>836</c:v>
                </c:pt>
                <c:pt idx="153">
                  <c:v>757</c:v>
                </c:pt>
                <c:pt idx="154">
                  <c:v>715</c:v>
                </c:pt>
                <c:pt idx="155">
                  <c:v>715</c:v>
                </c:pt>
                <c:pt idx="156">
                  <c:v>703</c:v>
                </c:pt>
                <c:pt idx="157">
                  <c:v>708</c:v>
                </c:pt>
                <c:pt idx="158">
                  <c:v>762</c:v>
                </c:pt>
                <c:pt idx="159">
                  <c:v>765</c:v>
                </c:pt>
                <c:pt idx="160">
                  <c:v>721</c:v>
                </c:pt>
                <c:pt idx="161">
                  <c:v>716</c:v>
                </c:pt>
                <c:pt idx="162">
                  <c:v>692</c:v>
                </c:pt>
                <c:pt idx="163">
                  <c:v>636</c:v>
                </c:pt>
                <c:pt idx="164">
                  <c:v>653</c:v>
                </c:pt>
                <c:pt idx="165">
                  <c:v>689</c:v>
                </c:pt>
                <c:pt idx="166">
                  <c:v>663</c:v>
                </c:pt>
                <c:pt idx="167">
                  <c:v>661</c:v>
                </c:pt>
                <c:pt idx="168">
                  <c:v>598</c:v>
                </c:pt>
                <c:pt idx="169">
                  <c:v>577</c:v>
                </c:pt>
                <c:pt idx="170">
                  <c:v>568</c:v>
                </c:pt>
                <c:pt idx="171">
                  <c:v>541</c:v>
                </c:pt>
                <c:pt idx="172">
                  <c:v>602</c:v>
                </c:pt>
                <c:pt idx="173">
                  <c:v>604</c:v>
                </c:pt>
                <c:pt idx="174">
                  <c:v>600</c:v>
                </c:pt>
                <c:pt idx="175">
                  <c:v>595</c:v>
                </c:pt>
                <c:pt idx="176">
                  <c:v>570</c:v>
                </c:pt>
                <c:pt idx="177">
                  <c:v>589</c:v>
                </c:pt>
                <c:pt idx="178">
                  <c:v>607</c:v>
                </c:pt>
                <c:pt idx="179">
                  <c:v>581</c:v>
                </c:pt>
                <c:pt idx="180">
                  <c:v>576</c:v>
                </c:pt>
                <c:pt idx="181">
                  <c:v>598</c:v>
                </c:pt>
                <c:pt idx="182">
                  <c:v>582</c:v>
                </c:pt>
                <c:pt idx="183">
                  <c:v>562</c:v>
                </c:pt>
                <c:pt idx="184">
                  <c:v>563</c:v>
                </c:pt>
                <c:pt idx="185">
                  <c:v>572</c:v>
                </c:pt>
                <c:pt idx="186">
                  <c:v>561</c:v>
                </c:pt>
                <c:pt idx="187">
                  <c:v>588</c:v>
                </c:pt>
                <c:pt idx="188">
                  <c:v>591</c:v>
                </c:pt>
                <c:pt idx="189">
                  <c:v>533</c:v>
                </c:pt>
                <c:pt idx="190">
                  <c:v>499</c:v>
                </c:pt>
                <c:pt idx="191">
                  <c:v>487</c:v>
                </c:pt>
                <c:pt idx="192">
                  <c:v>498</c:v>
                </c:pt>
                <c:pt idx="193">
                  <c:v>515</c:v>
                </c:pt>
                <c:pt idx="194">
                  <c:v>498</c:v>
                </c:pt>
                <c:pt idx="195">
                  <c:v>502</c:v>
                </c:pt>
                <c:pt idx="196">
                  <c:v>459</c:v>
                </c:pt>
                <c:pt idx="197">
                  <c:v>488</c:v>
                </c:pt>
                <c:pt idx="198">
                  <c:v>499</c:v>
                </c:pt>
                <c:pt idx="199">
                  <c:v>485</c:v>
                </c:pt>
                <c:pt idx="200">
                  <c:v>488</c:v>
                </c:pt>
                <c:pt idx="201">
                  <c:v>501</c:v>
                </c:pt>
                <c:pt idx="202">
                  <c:v>515</c:v>
                </c:pt>
                <c:pt idx="203">
                  <c:v>532</c:v>
                </c:pt>
                <c:pt idx="204">
                  <c:v>532</c:v>
                </c:pt>
                <c:pt idx="207">
                  <c:v>1068</c:v>
                </c:pt>
                <c:pt idx="208">
                  <c:v>1080</c:v>
                </c:pt>
                <c:pt idx="209">
                  <c:v>1032</c:v>
                </c:pt>
                <c:pt idx="210">
                  <c:v>1073</c:v>
                </c:pt>
                <c:pt idx="211">
                  <c:v>1124</c:v>
                </c:pt>
                <c:pt idx="212">
                  <c:v>1158</c:v>
                </c:pt>
                <c:pt idx="213">
                  <c:v>1222</c:v>
                </c:pt>
                <c:pt idx="214">
                  <c:v>1267</c:v>
                </c:pt>
                <c:pt idx="215">
                  <c:v>1248</c:v>
                </c:pt>
                <c:pt idx="216">
                  <c:v>1236</c:v>
                </c:pt>
                <c:pt idx="217">
                  <c:v>1270</c:v>
                </c:pt>
                <c:pt idx="218">
                  <c:v>1212</c:v>
                </c:pt>
                <c:pt idx="219">
                  <c:v>1265</c:v>
                </c:pt>
                <c:pt idx="220">
                  <c:v>1289</c:v>
                </c:pt>
                <c:pt idx="221">
                  <c:v>1311</c:v>
                </c:pt>
                <c:pt idx="222">
                  <c:v>1309</c:v>
                </c:pt>
                <c:pt idx="223">
                  <c:v>1359</c:v>
                </c:pt>
                <c:pt idx="224">
                  <c:v>1373</c:v>
                </c:pt>
                <c:pt idx="225">
                  <c:v>1391</c:v>
                </c:pt>
                <c:pt idx="226">
                  <c:v>1410</c:v>
                </c:pt>
                <c:pt idx="227">
                  <c:v>1448</c:v>
                </c:pt>
                <c:pt idx="228">
                  <c:v>1420</c:v>
                </c:pt>
                <c:pt idx="229">
                  <c:v>1438</c:v>
                </c:pt>
                <c:pt idx="230">
                  <c:v>1499</c:v>
                </c:pt>
                <c:pt idx="231">
                  <c:v>1531</c:v>
                </c:pt>
                <c:pt idx="232">
                  <c:v>1496</c:v>
                </c:pt>
                <c:pt idx="233">
                  <c:v>1513</c:v>
                </c:pt>
                <c:pt idx="234">
                  <c:v>1550</c:v>
                </c:pt>
                <c:pt idx="235">
                  <c:v>1557</c:v>
                </c:pt>
                <c:pt idx="236">
                  <c:v>1515</c:v>
                </c:pt>
                <c:pt idx="237">
                  <c:v>1494</c:v>
                </c:pt>
                <c:pt idx="238">
                  <c:v>1523</c:v>
                </c:pt>
                <c:pt idx="239">
                  <c:v>1559</c:v>
                </c:pt>
                <c:pt idx="240">
                  <c:v>1547</c:v>
                </c:pt>
                <c:pt idx="241">
                  <c:v>1565</c:v>
                </c:pt>
                <c:pt idx="242">
                  <c:v>1596</c:v>
                </c:pt>
                <c:pt idx="243">
                  <c:v>1613</c:v>
                </c:pt>
                <c:pt idx="244">
                  <c:v>1586</c:v>
                </c:pt>
                <c:pt idx="245">
                  <c:v>1557</c:v>
                </c:pt>
                <c:pt idx="246">
                  <c:v>1546</c:v>
                </c:pt>
                <c:pt idx="247">
                  <c:v>1574</c:v>
                </c:pt>
                <c:pt idx="248">
                  <c:v>159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7617-4C75-8083-4C309D7E9AB9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250</c:f>
              <c:numCache>
                <c:formatCode>m/d/yyyy</c:formatCode>
                <c:ptCount val="249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</c:numCache>
            </c:numRef>
          </c:cat>
          <c:val>
            <c:numRef>
              <c:f>Sheet1!$C$2:$C$250</c:f>
              <c:numCache>
                <c:formatCode>General</c:formatCode>
                <c:ptCount val="249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7617-4C75-8083-4C309D7E9AB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9856808"/>
        <c:axId val="309852496"/>
      </c:lineChart>
      <c:dateAx>
        <c:axId val="309856808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2496"/>
        <c:crosses val="autoZero"/>
        <c:auto val="1"/>
        <c:lblOffset val="100"/>
        <c:baseTimeUnit val="days"/>
      </c:dateAx>
      <c:valAx>
        <c:axId val="309852496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solidFill>
            <a:schemeClr val="bg1"/>
          </a:solidFill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680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5D87C8B-F3B3-4CAB-B785-BFDE1A335144}" type="datetimeFigureOut">
              <a:rPr lang="cs-CZ" smtClean="0"/>
              <a:t>08.05.2021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81C133B-83D4-453A-8978-1FA1F52AB15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50109254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87125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délník 9">
            <a:extLst>
              <a:ext uri="{FF2B5EF4-FFF2-40B4-BE49-F238E27FC236}">
                <a16:creationId xmlns:a16="http://schemas.microsoft.com/office/drawing/2014/main" id="{5920C5AB-7E0D-4B8A-92A9-7DA47D440BBD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5CD1A40D-4F09-4D08-916F-43B796F44A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825625"/>
            <a:ext cx="11487705" cy="4351338"/>
          </a:xfrm>
        </p:spPr>
        <p:txBody>
          <a:bodyPr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14" name="Nadpis 1">
            <a:extLst>
              <a:ext uri="{FF2B5EF4-FFF2-40B4-BE49-F238E27FC236}">
                <a16:creationId xmlns:a16="http://schemas.microsoft.com/office/drawing/2014/main" id="{635F49FF-6718-4CE1-A42C-74D8FC3B42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grpSp>
        <p:nvGrpSpPr>
          <p:cNvPr id="15" name="Skupina 14">
            <a:extLst>
              <a:ext uri="{FF2B5EF4-FFF2-40B4-BE49-F238E27FC236}">
                <a16:creationId xmlns:a16="http://schemas.microsoft.com/office/drawing/2014/main" id="{A5367FD4-1AA0-460C-B73C-7D7567665B93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36D59138-B214-4FC1-9898-96D78BF9475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7" name="Obrázek 16">
              <a:extLst>
                <a:ext uri="{FF2B5EF4-FFF2-40B4-BE49-F238E27FC236}">
                  <a16:creationId xmlns:a16="http://schemas.microsoft.com/office/drawing/2014/main" id="{C99D30FB-B17A-485F-8C33-36B649E5FF8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42658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4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40EF74F-5572-4E88-BDB6-732EFDF9A064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7ACC8354-5878-430C-A84E-8418F73DA8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698"/>
          <a:stretch/>
        </p:blipFill>
        <p:spPr>
          <a:xfrm>
            <a:off x="8761124" y="427270"/>
            <a:ext cx="3348200" cy="629518"/>
          </a:xfrm>
          <a:prstGeom prst="rect">
            <a:avLst/>
          </a:prstGeom>
        </p:spPr>
      </p:pic>
      <p:grpSp>
        <p:nvGrpSpPr>
          <p:cNvPr id="14" name="Skupina 13">
            <a:extLst>
              <a:ext uri="{FF2B5EF4-FFF2-40B4-BE49-F238E27FC236}">
                <a16:creationId xmlns:a16="http://schemas.microsoft.com/office/drawing/2014/main" id="{F87F3FC9-A29E-4C5B-A820-1CE817C19E7A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5" name="Obrázek 14">
              <a:extLst>
                <a:ext uri="{FF2B5EF4-FFF2-40B4-BE49-F238E27FC236}">
                  <a16:creationId xmlns:a16="http://schemas.microsoft.com/office/drawing/2014/main" id="{88C88485-1FA6-42BC-89DE-25EBC5C93E7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2861DD9B-1BC7-426A-81C6-0DC72A659A1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sp>
        <p:nvSpPr>
          <p:cNvPr id="21" name="Nadpis 1">
            <a:extLst>
              <a:ext uri="{FF2B5EF4-FFF2-40B4-BE49-F238E27FC236}">
                <a16:creationId xmlns:a16="http://schemas.microsoft.com/office/drawing/2014/main" id="{A9AB94AD-4B9F-4F63-B34A-76C5608509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229347680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5647118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08.05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90119050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CCCD239-AA6C-468B-B245-CD5B8A25AB5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3BC3069-8C51-47E8-9C44-38C8AF77A8AC}" type="datetimeFigureOut">
              <a:rPr lang="cs-CZ" smtClean="0"/>
              <a:t>08.05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DE7136D-3C88-4971-84B6-5D5DE228D7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DAB90520-7E94-4EFB-924D-7EC9C954CA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31DAE22-6391-4995-B91F-1C3568FD3113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0791766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10.xml"/><Relationship Id="rId13" Type="http://schemas.openxmlformats.org/officeDocument/2006/relationships/chart" Target="../charts/chart4.xml"/><Relationship Id="rId3" Type="http://schemas.openxmlformats.org/officeDocument/2006/relationships/tags" Target="../tags/tag5.xml"/><Relationship Id="rId7" Type="http://schemas.openxmlformats.org/officeDocument/2006/relationships/tags" Target="../tags/tag9.xml"/><Relationship Id="rId12" Type="http://schemas.openxmlformats.org/officeDocument/2006/relationships/chart" Target="../charts/chart3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tags" Target="../tags/tag8.xml"/><Relationship Id="rId11" Type="http://schemas.openxmlformats.org/officeDocument/2006/relationships/chart" Target="../charts/chart2.xml"/><Relationship Id="rId5" Type="http://schemas.openxmlformats.org/officeDocument/2006/relationships/tags" Target="../tags/tag7.xml"/><Relationship Id="rId10" Type="http://schemas.openxmlformats.org/officeDocument/2006/relationships/chart" Target="../charts/chart1.xml"/><Relationship Id="rId4" Type="http://schemas.openxmlformats.org/officeDocument/2006/relationships/tags" Target="../tags/tag6.xml"/><Relationship Id="rId9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1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  <p:custDataLst>
              <p:tags r:id="rId1"/>
            </p:custDataLst>
          </p:nvPr>
        </p:nvSpPr>
        <p:spPr>
          <a:xfrm>
            <a:off x="423862" y="4111207"/>
            <a:ext cx="11344275" cy="1564690"/>
          </a:xfrm>
        </p:spPr>
        <p:txBody>
          <a:bodyPr>
            <a:normAutofit/>
          </a:bodyPr>
          <a:lstStyle/>
          <a:p>
            <a:r>
              <a:rPr lang="cs-CZ" sz="4800" b="1" dirty="0"/>
              <a:t>Přehled dostupných kapacit intenzivní péče</a:t>
            </a:r>
          </a:p>
          <a:p>
            <a:r>
              <a:rPr lang="cs-CZ" sz="3600" b="1" i="1" dirty="0"/>
              <a:t>- </a:t>
            </a:r>
            <a:r>
              <a:rPr lang="cs-CZ" sz="3600" b="1" i="1"/>
              <a:t>aktualizace 08.05</a:t>
            </a:r>
            <a:r>
              <a:rPr lang="cs-CZ" sz="3600" b="1" i="1" dirty="0"/>
              <a:t>. 2021 -</a:t>
            </a:r>
          </a:p>
        </p:txBody>
      </p:sp>
    </p:spTree>
    <p:extLst>
      <p:ext uri="{BB962C8B-B14F-4D97-AF65-F5344CB8AC3E}">
        <p14:creationId xmlns:p14="http://schemas.microsoft.com/office/powerpoint/2010/main" val="327505701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69" y="144795"/>
            <a:ext cx="8293855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n-line dispečink intenzivní péče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Obdélník 1"/>
          <p:cNvSpPr/>
          <p:nvPr/>
        </p:nvSpPr>
        <p:spPr>
          <a:xfrm>
            <a:off x="336401" y="989308"/>
            <a:ext cx="11386207" cy="60016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cs-CZ" sz="1600" b="1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právce systému: </a:t>
            </a:r>
            <a:r>
              <a:rPr lang="cs-CZ" sz="160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Ministerstvo zdravotnictví ČR</a:t>
            </a:r>
          </a:p>
          <a:p>
            <a:pPr algn="just"/>
            <a:r>
              <a:rPr lang="cs-CZ" sz="1600" b="1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Vývoj a provoz: </a:t>
            </a:r>
            <a:r>
              <a:rPr lang="cs-CZ" sz="160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ÚZIS ČR </a:t>
            </a:r>
          </a:p>
          <a:p>
            <a:pPr algn="just"/>
            <a:endParaRPr lang="cs-CZ" sz="1600" dirty="0">
              <a:solidFill>
                <a:srgbClr val="000000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algn="just"/>
            <a:r>
              <a:rPr lang="cs-CZ" sz="1400" b="1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Důvod vývoje: </a:t>
            </a:r>
            <a:r>
              <a:rPr lang="cs-CZ" sz="1400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V ČR se na péči podílejí nemocnice i zdravotní záchranné služby s různými zřizovateli. Dosud však není implementována funkční základna elektronického zdravotnictví, která by je propojovala. V této situaci, v jarních měsících pandemie, vytvořil ÚZIS informační systém (Národní dispečink intenzivní péče – NDIP), který je plně funkční od dubna 2020 a byl vybudován jako </a:t>
            </a:r>
            <a:r>
              <a:rPr lang="cs-CZ" sz="1400" b="1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manažerský nástroj pro nouzové řízení kapacit intenzivní péče. </a:t>
            </a:r>
            <a:endParaRPr lang="cs-CZ" sz="1400" b="1" dirty="0">
              <a:ea typeface="Calibri" panose="020F0502020204030204" pitchFamily="34" charset="0"/>
            </a:endParaRPr>
          </a:p>
          <a:p>
            <a:pPr algn="just"/>
            <a:endParaRPr lang="cs-CZ" sz="1400" dirty="0">
              <a:solidFill>
                <a:srgbClr val="000000"/>
              </a:solidFill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algn="just"/>
            <a:r>
              <a:rPr lang="cs-CZ" sz="1400" b="1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Funkčnost:</a:t>
            </a:r>
            <a:r>
              <a:rPr lang="cs-CZ" sz="1400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 Systém umožňuje sdílení velmi omezeného rozsahu dat mezi lékaři, koordinátory intenzivní péče a zdravotnickými záchrannými službami. Nemocnice do něj zadávají informace o obsazenosti lůžek na jednotkách intenzivní péče a anesteziologicko-resuscitačních odděleních a také údaje o počtu volných přístrojů pro intenzivní péči o pacienta, zejména pak o pacienta s nemocí COVID-19. Děje se tak v reálném čase, je to tedy systém velmi proměnlivý, v čase se měnící i v hodinách, protože vždy zachycuje aktuální situaci. Vytvořením tohoto systému ÚZIS ČR usnadnil domluvu a koordinaci všech složek záchranného systému a zejména řízení v rukách krajských koordinátorů intenzivní péče.</a:t>
            </a:r>
          </a:p>
          <a:p>
            <a:pPr algn="just"/>
            <a:endParaRPr lang="cs-CZ" sz="1400" b="1" dirty="0">
              <a:solidFill>
                <a:srgbClr val="000000"/>
              </a:solidFill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lvl="0"/>
            <a:r>
              <a:rPr lang="cs-CZ" sz="1400" b="1" dirty="0"/>
              <a:t>Plný přístup do systému: </a:t>
            </a:r>
            <a:r>
              <a:rPr lang="cs-CZ" sz="1400" dirty="0"/>
              <a:t>Zdravotnické záchranné služby, zřizované a řízené pod krajskými samosprávami, ředitelé a vedení nemocnic, krajští koordinátoři intenzívní péče jako k tomu úkolu v každém kraji vybraní a v lékařském prostředí respektovaní odborníci, vybaveni potřebnými pravomocemi pro koordinaci intenzívní péče o pacienty s COVID-19 v rámci příslušného kraje, ale v případě potřeby koordinují přesuny pacientů do jiných krajů, koordinátoři intenzívní péče o pacienty s COVID-19 v každé nemocnici, kteří situaci řeší mj. se „svým“ krajským koordinátorem, hejtmani a krajské samosprávy, krajští radní pro zdravotnickou politiku a ředitelé zdravotnických odborů, kteří mj. řídí zdravotnické záchranné služby.</a:t>
            </a:r>
          </a:p>
          <a:p>
            <a:pPr algn="just"/>
            <a:endParaRPr lang="cs-CZ" sz="1400" dirty="0">
              <a:ea typeface="Calibri" panose="020F0502020204030204" pitchFamily="34" charset="0"/>
            </a:endParaRPr>
          </a:p>
          <a:p>
            <a:pPr algn="just"/>
            <a:r>
              <a:rPr lang="cs-CZ" sz="1400" b="1" dirty="0">
                <a:ea typeface="Calibri" panose="020F0502020204030204" pitchFamily="34" charset="0"/>
              </a:rPr>
              <a:t>Povolování přístupů a rozhodování o uvolňování dat: </a:t>
            </a:r>
            <a:r>
              <a:rPr lang="cs-CZ" sz="1400" dirty="0">
                <a:ea typeface="Calibri" panose="020F0502020204030204" pitchFamily="34" charset="0"/>
              </a:rPr>
              <a:t>o přístupech a zveřejňování dat rozhoduje výhradně MZ ČR jako správce systému. Přístupy jsou poskytovány právnické osobě, tedy například u nemocnic jí, jako poskytovateli. Následné využívání dat a distribuce přístupových práv je na vedení daného subjektu. </a:t>
            </a:r>
            <a:r>
              <a:rPr lang="cs-CZ" sz="1400" dirty="0"/>
              <a:t>ÚZIS nerozhoduje o tom, kteří zdravotníci v konkrétní nemocnici budou pověřeni tím, aby se systémem pracovali, ani jak efektivně jej budou reálně využívat. Kdo konkrétně a v jakém rozsahu dostane přístup do systému NDIP, vždy určuje poskytovatel zdravotnické služby z pozice zaměstnavatele. Stejně tak je tomu v případě krajských samospráv. ÚZIS pouze takto vybraným osobám přístup zprostředkuje. ÚZIS poskytuje informace, ale neřídí zdravotní péči. To je věcí Ministerstva zdravotnictví ČR a centrálního řídícího týmu COVID-19.</a:t>
            </a:r>
          </a:p>
          <a:p>
            <a:pPr algn="just"/>
            <a:endParaRPr lang="cs-CZ" sz="1400" dirty="0">
              <a:ea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1689179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69" y="144795"/>
            <a:ext cx="8293855" cy="715936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stupná kapacita intenzivní péče: ČR v časovém vývoji 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4762C22-6961-498F-B05F-061834A28CB8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1124158" y="894503"/>
            <a:ext cx="436542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JIP lůžka  vč. </a:t>
            </a:r>
            <a:r>
              <a:rPr lang="cs-CZ" dirty="0" err="1"/>
              <a:t>reprofilizace</a:t>
            </a:r>
            <a:r>
              <a:rPr lang="cs-CZ" dirty="0"/>
              <a:t>: dostupné kapacity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709EC90-A484-48EE-9119-94B794F54BE5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7243253" y="891399"/>
            <a:ext cx="240495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UPV: dostupné kapacity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EE536AE-AC24-4473-8E35-1129F0BFC848}"/>
              </a:ext>
            </a:extLst>
          </p:cNvPr>
          <p:cNvSpPr/>
          <p:nvPr/>
        </p:nvSpPr>
        <p:spPr>
          <a:xfrm rot="10800000">
            <a:off x="8824003" y="610642"/>
            <a:ext cx="396000" cy="25008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6DA12B14-0A67-47C7-A14C-AF40A0E3F71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9311949" y="579368"/>
            <a:ext cx="270086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/>
              <a:t>Kapacity obsazené COVID pacienty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674A98C8-BE6D-449F-BA9C-C7F88F42B1F4}"/>
              </a:ext>
            </a:extLst>
          </p:cNvPr>
          <p:cNvSpPr txBox="1"/>
          <p:nvPr/>
        </p:nvSpPr>
        <p:spPr>
          <a:xfrm>
            <a:off x="1819469" y="4014235"/>
            <a:ext cx="259917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ECMO: dostupné kapacity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0F839319-278E-462E-A423-69B628D47E23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9291223" y="87422"/>
            <a:ext cx="211830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dirty="0"/>
              <a:t>Dostupné kapacity dle hlášení nemocnic</a:t>
            </a:r>
          </a:p>
        </p:txBody>
      </p:sp>
      <p:graphicFrame>
        <p:nvGraphicFramePr>
          <p:cNvPr id="26" name="Chart 25">
            <a:extLst>
              <a:ext uri="{FF2B5EF4-FFF2-40B4-BE49-F238E27FC236}">
                <a16:creationId xmlns:a16="http://schemas.microsoft.com/office/drawing/2014/main" id="{190C9D06-83B8-4A2C-B95F-1D50AD62A142}"/>
              </a:ext>
            </a:extLst>
          </p:cNvPr>
          <p:cNvGraphicFramePr/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168438152"/>
              </p:ext>
            </p:extLst>
          </p:nvPr>
        </p:nvGraphicFramePr>
        <p:xfrm>
          <a:off x="6076079" y="992463"/>
          <a:ext cx="5883645" cy="304818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DF1333B8-8D95-4302-99DE-18682CE962D6}"/>
              </a:ext>
            </a:extLst>
          </p:cNvPr>
          <p:cNvSpPr txBox="1"/>
          <p:nvPr/>
        </p:nvSpPr>
        <p:spPr>
          <a:xfrm rot="16200000">
            <a:off x="-1459667" y="3597822"/>
            <a:ext cx="343087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/>
              <a:t>Počet dostupných kapacit </a:t>
            </a:r>
            <a:r>
              <a:rPr lang="en-US" sz="1400" dirty="0"/>
              <a:t>/ </a:t>
            </a:r>
            <a:r>
              <a:rPr lang="en-US" sz="1400" dirty="0" err="1"/>
              <a:t>pacient</a:t>
            </a:r>
            <a:r>
              <a:rPr lang="cs-CZ" sz="1400" dirty="0"/>
              <a:t>ů COVID</a:t>
            </a:r>
            <a:r>
              <a:rPr lang="en-US" sz="1400" dirty="0"/>
              <a:t>+</a:t>
            </a:r>
            <a:endParaRPr lang="cs-CZ" sz="1400" dirty="0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45A8F948-CE10-4F2E-B199-0B2575C12BC4}"/>
              </a:ext>
            </a:extLst>
          </p:cNvPr>
          <p:cNvSpPr txBox="1"/>
          <p:nvPr/>
        </p:nvSpPr>
        <p:spPr>
          <a:xfrm>
            <a:off x="6806817" y="3984267"/>
            <a:ext cx="504837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L</a:t>
            </a:r>
            <a:r>
              <a:rPr lang="cs-CZ" dirty="0" err="1"/>
              <a:t>ůžka</a:t>
            </a:r>
            <a:r>
              <a:rPr lang="cs-CZ" dirty="0"/>
              <a:t> s kyslíkem vč. </a:t>
            </a:r>
            <a:r>
              <a:rPr lang="cs-CZ" dirty="0" err="1"/>
              <a:t>reprofilizace</a:t>
            </a:r>
            <a:r>
              <a:rPr lang="cs-CZ" dirty="0"/>
              <a:t>: dostupné kapacity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CFB0952A-78B3-4F92-AAB8-A158C31F24C4}"/>
              </a:ext>
            </a:extLst>
          </p:cNvPr>
          <p:cNvCxnSpPr/>
          <p:nvPr/>
        </p:nvCxnSpPr>
        <p:spPr>
          <a:xfrm>
            <a:off x="8824003" y="245517"/>
            <a:ext cx="396000" cy="0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1A68EE84-2E82-4549-8438-02DC7E37AA5B}"/>
              </a:ext>
            </a:extLst>
          </p:cNvPr>
          <p:cNvCxnSpPr/>
          <p:nvPr/>
        </p:nvCxnSpPr>
        <p:spPr>
          <a:xfrm>
            <a:off x="8824003" y="320162"/>
            <a:ext cx="396000" cy="0"/>
          </a:xfrm>
          <a:prstGeom prst="line">
            <a:avLst/>
          </a:prstGeom>
          <a:ln w="28575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1419FC11-7A96-4E8D-831A-47357A6C3C2F}"/>
              </a:ext>
            </a:extLst>
          </p:cNvPr>
          <p:cNvCxnSpPr/>
          <p:nvPr/>
        </p:nvCxnSpPr>
        <p:spPr>
          <a:xfrm>
            <a:off x="8824003" y="394807"/>
            <a:ext cx="396000" cy="0"/>
          </a:xfrm>
          <a:prstGeom prst="line">
            <a:avLst/>
          </a:prstGeom>
          <a:ln w="28575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48810CD8-3168-49F2-B864-86A3BDA842A3}"/>
              </a:ext>
            </a:extLst>
          </p:cNvPr>
          <p:cNvCxnSpPr/>
          <p:nvPr/>
        </p:nvCxnSpPr>
        <p:spPr>
          <a:xfrm>
            <a:off x="8824003" y="469451"/>
            <a:ext cx="396000" cy="0"/>
          </a:xfrm>
          <a:prstGeom prst="line">
            <a:avLst/>
          </a:prstGeom>
          <a:ln w="285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9" name="Chart 27">
            <a:extLst>
              <a:ext uri="{FF2B5EF4-FFF2-40B4-BE49-F238E27FC236}">
                <a16:creationId xmlns:a16="http://schemas.microsoft.com/office/drawing/2014/main" id="{910F46E3-5B50-4EA1-ADCC-26F75A8541D7}"/>
              </a:ext>
            </a:extLst>
          </p:cNvPr>
          <p:cNvGraphicFramePr/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893188700"/>
              </p:ext>
            </p:extLst>
          </p:nvPr>
        </p:nvGraphicFramePr>
        <p:xfrm>
          <a:off x="6095999" y="3984266"/>
          <a:ext cx="5916818" cy="28281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graphicFrame>
        <p:nvGraphicFramePr>
          <p:cNvPr id="22" name="Chart 22">
            <a:extLst>
              <a:ext uri="{FF2B5EF4-FFF2-40B4-BE49-F238E27FC236}">
                <a16:creationId xmlns:a16="http://schemas.microsoft.com/office/drawing/2014/main" id="{FD132256-4CDE-4125-B9DF-522A85F6A2C7}"/>
              </a:ext>
            </a:extLst>
          </p:cNvPr>
          <p:cNvGraphicFramePr/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519178251"/>
              </p:ext>
            </p:extLst>
          </p:nvPr>
        </p:nvGraphicFramePr>
        <p:xfrm>
          <a:off x="409660" y="3984266"/>
          <a:ext cx="5832749" cy="28281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aphicFrame>
        <p:nvGraphicFramePr>
          <p:cNvPr id="21" name="Chart 6">
            <a:extLst>
              <a:ext uri="{FF2B5EF4-FFF2-40B4-BE49-F238E27FC236}">
                <a16:creationId xmlns:a16="http://schemas.microsoft.com/office/drawing/2014/main" id="{E30F85F2-0104-4418-9DC8-79B3BBAF3B14}"/>
              </a:ext>
            </a:extLst>
          </p:cNvPr>
          <p:cNvGraphicFramePr/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736736553"/>
              </p:ext>
            </p:extLst>
          </p:nvPr>
        </p:nvGraphicFramePr>
        <p:xfrm>
          <a:off x="390497" y="1022379"/>
          <a:ext cx="5883645" cy="29618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</p:spTree>
    <p:extLst>
      <p:ext uri="{BB962C8B-B14F-4D97-AF65-F5344CB8AC3E}">
        <p14:creationId xmlns:p14="http://schemas.microsoft.com/office/powerpoint/2010/main" val="331558485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69" y="144795"/>
            <a:ext cx="8293855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stupná kapacita intenzivní péče: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raje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za poslední 3 dny 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EA12B617-EFC8-47A3-9ADE-E9EBD4F7AFC0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8126181"/>
              </p:ext>
            </p:extLst>
          </p:nvPr>
        </p:nvGraphicFramePr>
        <p:xfrm>
          <a:off x="199580" y="1147680"/>
          <a:ext cx="11792839" cy="5289730"/>
        </p:xfrm>
        <a:graphic>
          <a:graphicData uri="http://schemas.openxmlformats.org/drawingml/2006/table">
            <a:tbl>
              <a:tblPr/>
              <a:tblGrid>
                <a:gridCol w="1468423">
                  <a:extLst>
                    <a:ext uri="{9D8B030D-6E8A-4147-A177-3AD203B41FA5}">
                      <a16:colId xmlns:a16="http://schemas.microsoft.com/office/drawing/2014/main" val="4150606983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901187104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736464511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866311018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187411557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1722424766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478160495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07281828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084146701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46467842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39354822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515241955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1136750727"/>
                    </a:ext>
                  </a:extLst>
                </a:gridCol>
              </a:tblGrid>
              <a:tr h="261970">
                <a:tc>
                  <a:txBody>
                    <a:bodyPr/>
                    <a:lstStyle/>
                    <a:p>
                      <a:pPr algn="l" fontAlgn="b"/>
                      <a:endParaRPr lang="cs-CZ" sz="13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P l</a:t>
                      </a:r>
                      <a:r>
                        <a:rPr lang="cs-CZ" sz="16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ůžka</a:t>
                      </a:r>
                      <a:endParaRPr lang="cs-CZ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V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CMO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ůžka s kyslíkem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78186962"/>
                  </a:ext>
                </a:extLst>
              </a:tr>
              <a:tr h="24339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9055" marR="9055" marT="905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6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6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6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6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199862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7827819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78951956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9584174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3960722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55897502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8752789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75632794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920946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6608186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595485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22968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522330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988004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972607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R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4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7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9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26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20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40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571267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268025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69" y="144795"/>
            <a:ext cx="8293855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apacity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bsazen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é COVID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+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cienty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: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raje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za poslední 3 dny 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EA12B617-EFC8-47A3-9ADE-E9EBD4F7AFC0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54436450"/>
              </p:ext>
            </p:extLst>
          </p:nvPr>
        </p:nvGraphicFramePr>
        <p:xfrm>
          <a:off x="199580" y="1147680"/>
          <a:ext cx="11792839" cy="5326545"/>
        </p:xfrm>
        <a:graphic>
          <a:graphicData uri="http://schemas.openxmlformats.org/drawingml/2006/table">
            <a:tbl>
              <a:tblPr/>
              <a:tblGrid>
                <a:gridCol w="1468423">
                  <a:extLst>
                    <a:ext uri="{9D8B030D-6E8A-4147-A177-3AD203B41FA5}">
                      <a16:colId xmlns:a16="http://schemas.microsoft.com/office/drawing/2014/main" val="4150606983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901187104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736464511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866311018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187411557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1722424766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478160495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07281828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084146701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46467842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39354822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515241955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1136750727"/>
                    </a:ext>
                  </a:extLst>
                </a:gridCol>
              </a:tblGrid>
              <a:tr h="261970">
                <a:tc>
                  <a:txBody>
                    <a:bodyPr/>
                    <a:lstStyle/>
                    <a:p>
                      <a:pPr algn="l" fontAlgn="b"/>
                      <a:endParaRPr lang="cs-CZ" sz="13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P l</a:t>
                      </a:r>
                      <a:r>
                        <a:rPr lang="cs-CZ" sz="16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ůžka</a:t>
                      </a:r>
                      <a:endParaRPr lang="cs-CZ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V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CMO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ůžka s kyslíkem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78186962"/>
                  </a:ext>
                </a:extLst>
              </a:tr>
              <a:tr h="24339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9055" marR="9055" marT="905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6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6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6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6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199862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7827819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78951956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9584174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3960722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55897502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8752789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75632794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920946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6608186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595485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22968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522330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988004"/>
                  </a:ext>
                </a:extLst>
              </a:tr>
              <a:tr h="35577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972607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R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5712677"/>
                  </a:ext>
                </a:extLst>
              </a:tr>
            </a:tbl>
          </a:graphicData>
        </a:graphic>
      </p:graphicFrame>
      <p:sp>
        <p:nvSpPr>
          <p:cNvPr id="5" name="TextBox 19">
            <a:extLst>
              <a:ext uri="{FF2B5EF4-FFF2-40B4-BE49-F238E27FC236}">
                <a16:creationId xmlns:a16="http://schemas.microsoft.com/office/drawing/2014/main" id="{6DA12B14-0A67-47C7-A14C-AF40A0E3F71C}"/>
              </a:ext>
            </a:extLst>
          </p:cNvPr>
          <p:cNvSpPr txBox="1"/>
          <p:nvPr/>
        </p:nvSpPr>
        <p:spPr>
          <a:xfrm>
            <a:off x="76509" y="6521510"/>
            <a:ext cx="1191591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dirty="0"/>
              <a:t>Hlášení posledních dnů ukazují </a:t>
            </a:r>
            <a:r>
              <a:rPr lang="cs-CZ" sz="1400"/>
              <a:t>okamžitý reálný stav </a:t>
            </a:r>
            <a:r>
              <a:rPr lang="cs-CZ" sz="1400" dirty="0"/>
              <a:t>k půlnoci reportovaného dne. Zpětným dohlášením záznamů (překlady, úmrtí, apod.) se počty mohou měnit. </a:t>
            </a:r>
          </a:p>
        </p:txBody>
      </p:sp>
    </p:spTree>
    <p:extLst>
      <p:ext uri="{BB962C8B-B14F-4D97-AF65-F5344CB8AC3E}">
        <p14:creationId xmlns:p14="http://schemas.microsoft.com/office/powerpoint/2010/main" val="413071808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CUSTOMSORTGLOBALLY" val="Tru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SHAPECONDITIONMETACTIONDELETE" val="False"/>
  <p:tag name="SLIDEFAB_EXPORTMODE" val="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heme/theme1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Motiv Office">
  <a:themeElements>
    <a:clrScheme name="Kancelář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celář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6158</TotalTime>
  <Words>1039</Words>
  <Application>Microsoft Office PowerPoint</Application>
  <PresentationFormat>Širokoúhlá obrazovka</PresentationFormat>
  <Paragraphs>453</Paragraphs>
  <Slides>5</Slides>
  <Notes>0</Notes>
  <HiddenSlides>0</HiddenSlides>
  <MMClips>0</MMClips>
  <ScaleCrop>false</ScaleCrop>
  <HeadingPairs>
    <vt:vector size="6" baseType="variant">
      <vt:variant>
        <vt:lpstr>Použitá písma</vt:lpstr>
      </vt:variant>
      <vt:variant>
        <vt:i4>3</vt:i4>
      </vt:variant>
      <vt:variant>
        <vt:lpstr>Motiv</vt:lpstr>
      </vt:variant>
      <vt:variant>
        <vt:i4>1</vt:i4>
      </vt:variant>
      <vt:variant>
        <vt:lpstr>Nadpisy snímků</vt:lpstr>
      </vt:variant>
      <vt:variant>
        <vt:i4>5</vt:i4>
      </vt:variant>
    </vt:vector>
  </HeadingPairs>
  <TitlesOfParts>
    <vt:vector size="9" baseType="lpstr">
      <vt:lpstr>Arial</vt:lpstr>
      <vt:lpstr>Calibri</vt:lpstr>
      <vt:lpstr>Calibri Light</vt:lpstr>
      <vt:lpstr>Motiv Office</vt:lpstr>
      <vt:lpstr>Datová a informační základna  pro management pandemie COVID-19</vt:lpstr>
      <vt:lpstr>Prezentace aplikace PowerPoint</vt:lpstr>
      <vt:lpstr>Prezentace aplikace PowerPoint</vt:lpstr>
      <vt:lpstr>Prezentace aplikace PowerPoint</vt:lpstr>
      <vt:lpstr>Prezentace aplikac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arkovský Jiří RNDr. Ph.D.</dc:creator>
  <cp:lastModifiedBy>Pohlová Radka Mgr.</cp:lastModifiedBy>
  <cp:revision>665</cp:revision>
  <dcterms:created xsi:type="dcterms:W3CDTF">2020-08-08T14:25:07Z</dcterms:created>
  <dcterms:modified xsi:type="dcterms:W3CDTF">2021-05-08T04:02:14Z</dcterms:modified>
</cp:coreProperties>
</file>